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8" r:id="rId4"/>
    <p:sldMasterId id="2147483661" r:id="rId5"/>
    <p:sldMasterId id="2147483695" r:id="rId6"/>
    <p:sldMasterId id="2147483648" r:id="rId7"/>
  </p:sldMasterIdLst>
  <p:notesMasterIdLst>
    <p:notesMasterId r:id="rId34"/>
  </p:notesMasterIdLst>
  <p:sldIdLst>
    <p:sldId id="2076137328" r:id="rId8"/>
    <p:sldId id="2076138513" r:id="rId9"/>
    <p:sldId id="2076138485" r:id="rId10"/>
    <p:sldId id="2076138514" r:id="rId11"/>
    <p:sldId id="2076138492" r:id="rId12"/>
    <p:sldId id="2076138461" r:id="rId13"/>
    <p:sldId id="2076138460" r:id="rId14"/>
    <p:sldId id="2076138459" r:id="rId15"/>
    <p:sldId id="2076138378" r:id="rId16"/>
    <p:sldId id="2076138512" r:id="rId17"/>
    <p:sldId id="2076138488" r:id="rId18"/>
    <p:sldId id="2076138494" r:id="rId19"/>
    <p:sldId id="2076138497" r:id="rId20"/>
    <p:sldId id="2076138493" r:id="rId21"/>
    <p:sldId id="2076138517" r:id="rId22"/>
    <p:sldId id="2076138490" r:id="rId23"/>
    <p:sldId id="2076138499" r:id="rId24"/>
    <p:sldId id="2076138500" r:id="rId25"/>
    <p:sldId id="2076138501" r:id="rId26"/>
    <p:sldId id="2076138502" r:id="rId27"/>
    <p:sldId id="2076138503" r:id="rId28"/>
    <p:sldId id="2076138504" r:id="rId29"/>
    <p:sldId id="2076138505" r:id="rId30"/>
    <p:sldId id="2076138506" r:id="rId31"/>
    <p:sldId id="2076138507" r:id="rId32"/>
    <p:sldId id="2076138508" r:id="rId33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neci, Roberta" initials="S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3DAA"/>
    <a:srgbClr val="35434D"/>
    <a:srgbClr val="0D1A25"/>
    <a:srgbClr val="AEA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Stile medio 3 - Color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Stile medio 4 - Color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Stile scuro 2 - Colore 1/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7" autoAdjust="0"/>
    <p:restoredTop sz="94674"/>
  </p:normalViewPr>
  <p:slideViewPr>
    <p:cSldViewPr snapToObjects="1">
      <p:cViewPr varScale="1">
        <p:scale>
          <a:sx n="118" d="100"/>
          <a:sy n="118" d="100"/>
        </p:scale>
        <p:origin x="330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6F7824F-C36F-824A-A45C-AFA8CB51735A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F7F088-98B5-B242-B5BA-EAF1E613439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9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127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9B2F4-8F99-4FDD-A50D-433216698ED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007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F7F088-98B5-B242-B5BA-EAF1E613439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759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2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284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3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207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_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7" y="-328"/>
            <a:ext cx="12189748" cy="6858655"/>
          </a:xfrm>
          <a:prstGeom prst="rect">
            <a:avLst/>
          </a:prstGeom>
        </p:spPr>
      </p:pic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1421" y="2544237"/>
            <a:ext cx="10692815" cy="586371"/>
          </a:xfrm>
        </p:spPr>
        <p:txBody>
          <a:bodyPr wrap="square" lIns="0">
            <a:noAutofit/>
          </a:bodyPr>
          <a:lstStyle>
            <a:lvl1pPr marL="0" marR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2267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0914" indent="0">
              <a:buNone/>
              <a:defRPr/>
            </a:lvl2pPr>
            <a:lvl3pPr marL="820002" indent="0">
              <a:buNone/>
              <a:defRPr/>
            </a:lvl3pPr>
            <a:lvl4pPr marL="1241876" indent="0">
              <a:buNone/>
              <a:defRPr/>
            </a:lvl4pPr>
            <a:lvl5pPr marL="1650963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en-US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75" b="9018"/>
          <a:stretch/>
        </p:blipFill>
        <p:spPr>
          <a:xfrm>
            <a:off x="10912072" y="5946702"/>
            <a:ext cx="624424" cy="44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10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7" y="-328"/>
            <a:ext cx="12189748" cy="6858655"/>
          </a:xfrm>
          <a:prstGeom prst="rect">
            <a:avLst/>
          </a:prstGeom>
        </p:spPr>
      </p:pic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2544956"/>
            <a:ext cx="10692815" cy="586371"/>
          </a:xfrm>
        </p:spPr>
        <p:txBody>
          <a:bodyPr wrap="square" lIns="0">
            <a:noAutofit/>
          </a:bodyPr>
          <a:lstStyle>
            <a:lvl1pPr marL="0" marR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2267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0914" indent="0">
              <a:buNone/>
              <a:defRPr/>
            </a:lvl2pPr>
            <a:lvl3pPr marL="820002" indent="0">
              <a:buNone/>
              <a:defRPr/>
            </a:lvl3pPr>
            <a:lvl4pPr marL="1241876" indent="0">
              <a:buNone/>
              <a:defRPr/>
            </a:lvl4pPr>
            <a:lvl5pPr marL="1650963" indent="0">
              <a:buNone/>
              <a:defRPr/>
            </a:lvl5pPr>
          </a:lstStyle>
          <a:p>
            <a:pPr marL="0" marR="0" lvl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marL="0" marR="0" lvl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</a:pPr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75" b="9018"/>
          <a:stretch/>
        </p:blipFill>
        <p:spPr>
          <a:xfrm>
            <a:off x="10912072" y="5946702"/>
            <a:ext cx="624424" cy="44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28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P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7" y="-328"/>
            <a:ext cx="12189748" cy="6858655"/>
          </a:xfrm>
          <a:prstGeom prst="rect">
            <a:avLst/>
          </a:prstGeom>
        </p:spPr>
      </p:pic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2544237"/>
            <a:ext cx="10692815" cy="586371"/>
          </a:xfrm>
        </p:spPr>
        <p:txBody>
          <a:bodyPr wrap="square" lIns="0">
            <a:noAutofit/>
          </a:bodyPr>
          <a:lstStyle>
            <a:lvl1pPr marL="0" marR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22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0914" indent="0">
              <a:buNone/>
              <a:defRPr/>
            </a:lvl2pPr>
            <a:lvl3pPr marL="820002" indent="0">
              <a:buNone/>
              <a:defRPr/>
            </a:lvl3pPr>
            <a:lvl4pPr marL="1241876" indent="0">
              <a:buNone/>
              <a:defRPr/>
            </a:lvl4pPr>
            <a:lvl5pPr marL="1650963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75" b="9018"/>
          <a:stretch/>
        </p:blipFill>
        <p:spPr>
          <a:xfrm>
            <a:off x="10912072" y="5946702"/>
            <a:ext cx="624424" cy="44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139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Fac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7" y="-328"/>
            <a:ext cx="12189748" cy="685865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en-US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2544952"/>
            <a:ext cx="10692815" cy="586371"/>
          </a:xfrm>
        </p:spPr>
        <p:txBody>
          <a:bodyPr wrap="square" lIns="0">
            <a:noAutofit/>
          </a:bodyPr>
          <a:lstStyle>
            <a:lvl1pPr marL="0" marR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22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0914" indent="0">
              <a:buNone/>
              <a:defRPr/>
            </a:lvl2pPr>
            <a:lvl3pPr marL="820002" indent="0">
              <a:buNone/>
              <a:defRPr/>
            </a:lvl3pPr>
            <a:lvl4pPr marL="1241876" indent="0">
              <a:buNone/>
              <a:defRPr/>
            </a:lvl4pPr>
            <a:lvl5pPr marL="1650963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75" b="9018"/>
          <a:stretch/>
        </p:blipFill>
        <p:spPr>
          <a:xfrm>
            <a:off x="10912072" y="5946702"/>
            <a:ext cx="624424" cy="44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84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H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7" y="-328"/>
            <a:ext cx="12189748" cy="6858655"/>
          </a:xfrm>
          <a:prstGeom prst="rect">
            <a:avLst/>
          </a:prstGeom>
        </p:spPr>
      </p:pic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1421" y="2544956"/>
            <a:ext cx="10692815" cy="586371"/>
          </a:xfrm>
        </p:spPr>
        <p:txBody>
          <a:bodyPr wrap="square" lIns="0">
            <a:noAutofit/>
          </a:bodyPr>
          <a:lstStyle>
            <a:lvl1pPr marL="0" marR="0" indent="0" algn="l" defTabSz="10887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2267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0914" indent="0">
              <a:buNone/>
              <a:defRPr/>
            </a:lvl2pPr>
            <a:lvl3pPr marL="820002" indent="0">
              <a:buNone/>
              <a:defRPr/>
            </a:lvl3pPr>
            <a:lvl4pPr marL="1241876" indent="0">
              <a:buNone/>
              <a:defRPr/>
            </a:lvl4pPr>
            <a:lvl5pPr marL="1650963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45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8" name="Rechteck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2457" y="2537537"/>
            <a:ext cx="10692815" cy="3635419"/>
          </a:xfrm>
          <a:prstGeom prst="rect">
            <a:avLst/>
          </a:prstGeom>
        </p:spPr>
        <p:txBody>
          <a:bodyPr>
            <a:noAutofit/>
          </a:bodyPr>
          <a:lstStyle>
            <a:lvl1pPr marL="412740" indent="-412740">
              <a:lnSpc>
                <a:spcPct val="120000"/>
              </a:lnSpc>
              <a:spcBef>
                <a:spcPts val="0"/>
              </a:spcBef>
              <a:spcAft>
                <a:spcPts val="691"/>
              </a:spcAft>
              <a:buFont typeface="+mj-lt"/>
              <a:buAutoNum type="arabicPeriod"/>
              <a:tabLst>
                <a:tab pos="1031852" algn="l"/>
              </a:tabLst>
              <a:defRPr>
                <a:solidFill>
                  <a:schemeClr val="bg1"/>
                </a:solidFill>
              </a:defRPr>
            </a:lvl1pPr>
            <a:lvl2pPr marL="53838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076766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615152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215353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60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_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8" name="Rechteck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1"/>
            <a:ext cx="10692815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2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_einfarbig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8" name="Rechteck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4217635"/>
            <a:ext cx="10692813" cy="1955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+mj-lt"/>
              <a:buNone/>
              <a:defRPr baseline="0">
                <a:solidFill>
                  <a:schemeClr val="bg1"/>
                </a:solidFill>
              </a:defRPr>
            </a:lvl1pPr>
            <a:lvl2pPr marL="53838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076766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615152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215353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4" y="411331"/>
            <a:ext cx="10692813" cy="1509212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53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96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 mit Bild 2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4667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2"/>
            <a:ext cx="12192000" cy="2537533"/>
          </a:xfrm>
          <a:gradFill>
            <a:gsLst>
              <a:gs pos="100000">
                <a:srgbClr val="000000">
                  <a:alpha val="0"/>
                </a:srgbClr>
              </a:gs>
              <a:gs pos="21000">
                <a:srgbClr val="000000">
                  <a:alpha val="60000"/>
                </a:srgbClr>
              </a:gs>
            </a:gsLst>
            <a:lin ang="5400000" scaled="1"/>
          </a:gradFill>
        </p:spPr>
        <p:txBody>
          <a:bodyPr lIns="372730" tIns="372730" rIns="186365"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858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 mit Bild 1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4667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217633"/>
            <a:ext cx="12192000" cy="2640368"/>
          </a:xfrm>
          <a:gradFill>
            <a:gsLst>
              <a:gs pos="2100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5400000" scaled="1"/>
          </a:gradFill>
        </p:spPr>
        <p:txBody>
          <a:bodyPr lIns="372730" tIns="0" rIns="186365" bIns="372730" anchor="b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84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leitungschart Kre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2"/>
            <a:ext cx="10692815" cy="5761625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, 66pt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69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leitungschart Kreation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2455" y="4217635"/>
            <a:ext cx="10692815" cy="1955323"/>
          </a:xfrm>
        </p:spPr>
        <p:txBody>
          <a:bodyPr anchor="b"/>
          <a:lstStyle>
            <a:lvl1pPr marL="303163" indent="-303163">
              <a:spcAft>
                <a:spcPts val="1151"/>
              </a:spcAft>
              <a:buFont typeface="Arial" panose="020B0604020202020204" pitchFamily="34" charset="0"/>
              <a:buChar char="»"/>
              <a:defRPr baseline="0"/>
            </a:lvl1pPr>
          </a:lstStyle>
          <a:p>
            <a:pPr lvl="0"/>
            <a:r>
              <a:rPr lang="de-DE" dirty="0"/>
              <a:t>Text, 20p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62455" y="411332"/>
            <a:ext cx="10692815" cy="3463025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7600" kern="0" spc="-172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copy</a:t>
            </a:r>
            <a:r>
              <a:rPr lang="de-DE" dirty="0"/>
              <a:t>, 66pt</a:t>
            </a:r>
            <a:br>
              <a:rPr lang="de-D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6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82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2713" y="1920542"/>
            <a:ext cx="10691560" cy="4252365"/>
          </a:xfrm>
        </p:spPr>
        <p:txBody>
          <a:bodyPr/>
          <a:lstStyle>
            <a:lvl1pPr marL="306815" indent="-306815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557" indent="-306815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3678" indent="-314120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0494" indent="-306815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7311" indent="-306815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20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255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char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562713" y="1920543"/>
            <a:ext cx="10691560" cy="4252413"/>
          </a:xfrm>
        </p:spPr>
        <p:txBody>
          <a:bodyPr/>
          <a:lstStyle>
            <a:lvl1pPr marL="301338" marR="0" indent="-301338" algn="l" defTabSz="10767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tabLst/>
              <a:defRPr lang="de-DE" sz="22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, 20p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1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89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inhaltschart vertikal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6143561" y="1925227"/>
            <a:ext cx="5111707" cy="4252413"/>
          </a:xfrm>
          <a:noFill/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562714" y="1925228"/>
            <a:ext cx="5111316" cy="4252365"/>
          </a:xfrm>
          <a:noFill/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16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inhaltschart horizontal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562455" y="4217635"/>
            <a:ext cx="10692815" cy="1955323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562713" y="1920543"/>
            <a:ext cx="10691560" cy="1953812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87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chart mi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455" y="2537537"/>
            <a:ext cx="10692813" cy="36354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453" y="1920544"/>
            <a:ext cx="10692811" cy="616992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562457" y="411330"/>
            <a:ext cx="10692809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24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680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-Diagrammchart mi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Diagrammplatzhalter 12"/>
          <p:cNvSpPr>
            <a:spLocks noGrp="1"/>
          </p:cNvSpPr>
          <p:nvPr>
            <p:ph type="chart" sz="quarter" idx="17" hasCustomPrompt="1"/>
          </p:nvPr>
        </p:nvSpPr>
        <p:spPr>
          <a:xfrm>
            <a:off x="6143562" y="2537536"/>
            <a:ext cx="5111708" cy="36354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21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457" y="2537537"/>
            <a:ext cx="5111705" cy="36341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143564" y="1920544"/>
            <a:ext cx="5111705" cy="616993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455" y="1920544"/>
            <a:ext cx="5111707" cy="616993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822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chart mit Tex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6143562" y="1920543"/>
            <a:ext cx="5111708" cy="4252413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7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454" y="2537536"/>
            <a:ext cx="5111708" cy="36354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None/>
              <a:defRPr lang="de-DE" sz="1867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454" y="1920543"/>
            <a:ext cx="5111316" cy="616995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65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_Dokum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2455" y="1920543"/>
            <a:ext cx="10692815" cy="4252413"/>
          </a:xfrm>
        </p:spPr>
        <p:txBody>
          <a:bodyPr/>
          <a:lstStyle>
            <a:lvl1pPr marL="210024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740" indent="-202719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764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3655" indent="-200891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3678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11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bg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0"/>
            <a:ext cx="10692813" cy="754607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7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562455" y="1920544"/>
            <a:ext cx="10692815" cy="4252415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40840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118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Headline mit grauer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2714" y="1920546"/>
            <a:ext cx="10681681" cy="4252412"/>
          </a:xfrm>
        </p:spPr>
        <p:txBody>
          <a:bodyPr/>
          <a:lstStyle>
            <a:lvl1pPr marL="306815" indent="-306815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85" indent="-314120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3234" indent="-31594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6396" indent="-303163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0517" indent="-314120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22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20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83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chart Headline mit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62715" y="1920543"/>
            <a:ext cx="10681680" cy="4252413"/>
          </a:xfrm>
        </p:spPr>
        <p:txBody>
          <a:bodyPr/>
          <a:lstStyle>
            <a:lvl1pPr marL="301338" marR="0" indent="-301338" algn="l" defTabSz="10767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»"/>
              <a:tabLst/>
              <a:defRPr lang="de-DE" sz="22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, 20pt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991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inhaltschart vertikal Headline und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6143561" y="1920543"/>
            <a:ext cx="5111707" cy="4252413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562714" y="1920544"/>
            <a:ext cx="5111316" cy="4252365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124819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inhaltschart horizontal Headline und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562455" y="4217635"/>
            <a:ext cx="10692815" cy="1955323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562712" y="1920543"/>
            <a:ext cx="10691560" cy="1953812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24707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chart mit Headline und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715" y="2537537"/>
            <a:ext cx="10681680" cy="36354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714" y="1920544"/>
            <a:ext cx="10681676" cy="616992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0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677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-Diagrammchart mit Headline und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Diagrammplatzhalter 12"/>
          <p:cNvSpPr>
            <a:spLocks noGrp="1"/>
          </p:cNvSpPr>
          <p:nvPr>
            <p:ph type="chart" sz="quarter" idx="17" hasCustomPrompt="1"/>
          </p:nvPr>
        </p:nvSpPr>
        <p:spPr>
          <a:xfrm>
            <a:off x="6143562" y="2537538"/>
            <a:ext cx="5111708" cy="36354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21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714" y="2537538"/>
            <a:ext cx="5111316" cy="36341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143564" y="1920544"/>
            <a:ext cx="5111705" cy="616993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713" y="1920544"/>
            <a:ext cx="5111316" cy="616993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109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chart mit Text Headline mit Sub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6143562" y="1920543"/>
            <a:ext cx="5111708" cy="4252413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7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562714" y="2537536"/>
            <a:ext cx="5111316" cy="36354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51"/>
              </a:spcAft>
              <a:buNone/>
              <a:defRPr sz="1867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562714" y="1920543"/>
            <a:ext cx="5111316" cy="616995"/>
          </a:xfrm>
        </p:spPr>
        <p:txBody>
          <a:bodyPr/>
          <a:lstStyle>
            <a:lvl1pPr mar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3" baseline="0">
                <a:solidFill>
                  <a:schemeClr val="tx1"/>
                </a:solidFill>
              </a:defRPr>
            </a:lvl1pPr>
            <a:lvl2pPr marL="1862812" indent="-1862812" algn="l">
              <a:lnSpc>
                <a:spcPct val="100000"/>
              </a:lnSpc>
              <a:buFontTx/>
              <a:buNone/>
              <a:defRPr sz="1333"/>
            </a:lvl2pPr>
            <a:lvl3pPr marL="1862812" indent="-1862812" algn="l">
              <a:lnSpc>
                <a:spcPct val="100000"/>
              </a:lnSpc>
              <a:buFontTx/>
              <a:buNone/>
              <a:defRPr sz="1333"/>
            </a:lvl3pPr>
            <a:lvl4pPr marL="1862812" indent="-1862812" algn="l">
              <a:lnSpc>
                <a:spcPct val="100000"/>
              </a:lnSpc>
              <a:buFontTx/>
              <a:buNone/>
              <a:defRPr sz="1333"/>
            </a:lvl4pPr>
            <a:lvl5pPr marL="1862812" indent="-1862812" algn="l">
              <a:lnSpc>
                <a:spcPct val="100000"/>
              </a:lnSpc>
              <a:buFontTx/>
              <a:buNone/>
              <a:defRPr sz="1333"/>
            </a:lvl5pPr>
          </a:lstStyle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07676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980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_Dokumentation mit Sub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62455" y="1920543"/>
            <a:ext cx="10692815" cy="4252413"/>
          </a:xfrm>
        </p:spPr>
        <p:txBody>
          <a:bodyPr/>
          <a:lstStyle>
            <a:lvl1pPr marL="210024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740" indent="-202719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764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3655" indent="-200891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3678" indent="-210024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448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schwarz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92" tIns="52596" rIns="105192" bIns="52596" rtlCol="0" anchor="ctr"/>
          <a:lstStyle/>
          <a:p>
            <a:pPr algn="ctr"/>
            <a:endParaRPr lang="de-DE" sz="2133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36495" y="205666"/>
            <a:ext cx="374279" cy="20314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bg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3589" y="6393476"/>
            <a:ext cx="10681680" cy="258861"/>
          </a:xfrm>
        </p:spPr>
        <p:txBody>
          <a:bodyPr anchor="b"/>
          <a:lstStyle>
            <a:lvl1pPr marL="0" algn="l" defTabSz="108847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933" kern="1200" baseline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562456" y="411332"/>
            <a:ext cx="10692813" cy="379873"/>
          </a:xfrm>
        </p:spPr>
        <p:txBody>
          <a:bodyPr>
            <a:noAutofit/>
          </a:bodyPr>
          <a:lstStyle>
            <a:lvl1pPr algn="l" defTabSz="1076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733" b="1" kern="0" spc="-47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32pt,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62455" y="890710"/>
            <a:ext cx="10692815" cy="583725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24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7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562455" y="1920544"/>
            <a:ext cx="10692815" cy="4252415"/>
          </a:xfrm>
        </p:spPr>
        <p:txBody>
          <a:bodyPr/>
          <a:lstStyle>
            <a:lvl1pPr marL="208196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6394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4590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21830" indent="-197238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30025" indent="-208196" algn="l" defTabSz="10767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51"/>
              </a:spcAft>
              <a:buFont typeface="Arial" panose="020B0604020202020204" pitchFamily="34" charset="0"/>
              <a:buChar char="»"/>
              <a:defRPr lang="de-DE" sz="1867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13955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6E4931C-B989-4D1A-BC08-AAB5264C491E}" type="datetimeFigureOut">
              <a:rPr lang="de-DE" smtClean="0"/>
              <a:t>09.01.2023</a:t>
            </a:fld>
            <a:endParaRPr lang="de-DE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9473342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3465" y="6240816"/>
            <a:ext cx="2321939" cy="411519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35163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SP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2200141" cy="6858000"/>
          </a:xfrm>
          <a:custGeom>
            <a:avLst/>
            <a:gdLst>
              <a:gd name="connsiteX0" fmla="*/ 10155238 w 12798425"/>
              <a:gd name="connsiteY0" fmla="*/ 6551612 h 7199313"/>
              <a:gd name="connsiteX1" fmla="*/ 10155238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10155238" y="6551612"/>
                </a:moveTo>
                <a:lnTo>
                  <a:pt x="10155238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3465" y="6240816"/>
            <a:ext cx="2321939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98131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P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6731" y="6240816"/>
            <a:ext cx="1838673" cy="41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15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PN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10661650 w 12798425"/>
              <a:gd name="connsiteY0" fmla="*/ 6551612 h 7199313"/>
              <a:gd name="connsiteX1" fmla="*/ 10661650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10661650" y="6551612"/>
                </a:moveTo>
                <a:lnTo>
                  <a:pt x="10661650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6731" y="6240816"/>
            <a:ext cx="1838673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221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322" y="6240816"/>
            <a:ext cx="2084082" cy="411519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631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7091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P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10404475 w 12798425"/>
              <a:gd name="connsiteY0" fmla="*/ 6551612 h 7199313"/>
              <a:gd name="connsiteX1" fmla="*/ 10404475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10404475" y="6551612"/>
                </a:moveTo>
                <a:lnTo>
                  <a:pt x="10404475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322" y="6240816"/>
            <a:ext cx="2084082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8340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Fac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465" y="6240816"/>
            <a:ext cx="1211939" cy="411519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87096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Faci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8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11320463 w 12798425"/>
              <a:gd name="connsiteY0" fmla="*/ 6551612 h 7199313"/>
              <a:gd name="connsiteX1" fmla="*/ 11320463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11320463" y="6551612"/>
                </a:moveTo>
                <a:lnTo>
                  <a:pt x="11320463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465" y="6240816"/>
            <a:ext cx="1211939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8353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Hd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873" y="6240816"/>
            <a:ext cx="4666531" cy="411519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9147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HdK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7693025 w 12798425"/>
              <a:gd name="connsiteY0" fmla="*/ 6551612 h 7199313"/>
              <a:gd name="connsiteX1" fmla="*/ 7693025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7693025" y="6551612"/>
                </a:moveTo>
                <a:lnTo>
                  <a:pt x="7693025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873" y="6240816"/>
            <a:ext cx="4666531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644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H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873" y="6240816"/>
            <a:ext cx="4666531" cy="411519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8596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HoC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7693025 w 12798425"/>
              <a:gd name="connsiteY0" fmla="*/ 6551612 h 7199313"/>
              <a:gd name="connsiteX1" fmla="*/ 7693025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7693025" y="6551612"/>
                </a:moveTo>
                <a:lnTo>
                  <a:pt x="7693025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873" y="6240816"/>
            <a:ext cx="4666531" cy="411519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02319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d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710" y="6240816"/>
            <a:ext cx="5319694" cy="411519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7533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dC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007225 w 12798425"/>
              <a:gd name="connsiteY0" fmla="*/ 6551612 h 7199313"/>
              <a:gd name="connsiteX1" fmla="*/ 7007225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7007225" y="6551612"/>
                </a:moveTo>
                <a:lnTo>
                  <a:pt x="7007225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710" y="6240816"/>
            <a:ext cx="5319694" cy="411519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7126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d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" y="-327"/>
            <a:ext cx="12190274" cy="685865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425" y="6240816"/>
            <a:ext cx="4843979" cy="411519"/>
          </a:xfrm>
          <a:prstGeom prst="rect">
            <a:avLst/>
          </a:prstGeom>
        </p:spPr>
      </p:pic>
      <p:sp>
        <p:nvSpPr>
          <p:cNvPr id="9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483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8911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CdC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12192000" cy="6858000"/>
          </a:xfrm>
          <a:custGeom>
            <a:avLst/>
            <a:gdLst>
              <a:gd name="connsiteX0" fmla="*/ 7507288 w 12798425"/>
              <a:gd name="connsiteY0" fmla="*/ 6551612 h 7199313"/>
              <a:gd name="connsiteX1" fmla="*/ 7507288 w 12798425"/>
              <a:gd name="connsiteY1" fmla="*/ 6983412 h 7199313"/>
              <a:gd name="connsiteX2" fmla="*/ 12592050 w 12798425"/>
              <a:gd name="connsiteY2" fmla="*/ 6983412 h 7199313"/>
              <a:gd name="connsiteX3" fmla="*/ 12592050 w 12798425"/>
              <a:gd name="connsiteY3" fmla="*/ 6551612 h 7199313"/>
              <a:gd name="connsiteX4" fmla="*/ 0 w 12798425"/>
              <a:gd name="connsiteY4" fmla="*/ 0 h 7199313"/>
              <a:gd name="connsiteX5" fmla="*/ 12798425 w 12798425"/>
              <a:gd name="connsiteY5" fmla="*/ 0 h 7199313"/>
              <a:gd name="connsiteX6" fmla="*/ 12798425 w 12798425"/>
              <a:gd name="connsiteY6" fmla="*/ 7199313 h 7199313"/>
              <a:gd name="connsiteX7" fmla="*/ 0 w 12798425"/>
              <a:gd name="connsiteY7" fmla="*/ 7199313 h 7199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98425" h="7199313">
                <a:moveTo>
                  <a:pt x="7507288" y="6551612"/>
                </a:moveTo>
                <a:lnTo>
                  <a:pt x="7507288" y="6983412"/>
                </a:lnTo>
                <a:lnTo>
                  <a:pt x="12592050" y="6983412"/>
                </a:lnTo>
                <a:lnTo>
                  <a:pt x="12592050" y="6551612"/>
                </a:lnTo>
                <a:close/>
                <a:moveTo>
                  <a:pt x="0" y="0"/>
                </a:moveTo>
                <a:lnTo>
                  <a:pt x="12798425" y="0"/>
                </a:lnTo>
                <a:lnTo>
                  <a:pt x="12798425" y="7199313"/>
                </a:lnTo>
                <a:lnTo>
                  <a:pt x="0" y="719931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425" y="6240816"/>
            <a:ext cx="4843979" cy="411519"/>
          </a:xfrm>
          <a:prstGeom prst="rect">
            <a:avLst/>
          </a:prstGeom>
        </p:spPr>
      </p:pic>
      <p:sp>
        <p:nvSpPr>
          <p:cNvPr id="11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6" y="3222580"/>
            <a:ext cx="9261202" cy="651774"/>
          </a:xfrm>
        </p:spPr>
        <p:txBody>
          <a:bodyPr wrap="square" lIns="18000">
            <a:noAutofit/>
          </a:bodyPr>
          <a:lstStyle>
            <a:lvl1pPr marL="0" marR="0" indent="0" algn="l" defTabSz="12327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lang="de-DE" sz="1905" kern="1200" cap="all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465267" indent="0">
              <a:buNone/>
              <a:defRPr/>
            </a:lvl2pPr>
            <a:lvl3pPr marL="928466" indent="0">
              <a:buNone/>
              <a:defRPr/>
            </a:lvl3pPr>
            <a:lvl4pPr marL="1406140" indent="0">
              <a:buNone/>
              <a:defRPr/>
            </a:lvl4pPr>
            <a:lvl5pPr marL="1869340" indent="0">
              <a:buNone/>
              <a:defRPr/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r>
              <a:rPr lang="de-DE" dirty="0"/>
              <a:t> (optional)</a:t>
            </a:r>
          </a:p>
          <a:p>
            <a:pPr lvl="0"/>
            <a:r>
              <a:rPr lang="de-DE" dirty="0"/>
              <a:t>Place, </a:t>
            </a:r>
            <a:r>
              <a:rPr lang="de-DE" dirty="0" err="1"/>
              <a:t>date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29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LE OF PRESENTATION</a:t>
            </a:r>
            <a:br>
              <a:rPr lang="de-DE" dirty="0"/>
            </a:br>
            <a:r>
              <a:rPr lang="de-DE" dirty="0"/>
              <a:t>TWO LINES MA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7963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1509213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Agenda, 66pt</a:t>
            </a:r>
            <a:endParaRPr lang="en-US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268" y="2572318"/>
            <a:ext cx="9261201" cy="3600638"/>
          </a:xfrm>
          <a:prstGeom prst="rect">
            <a:avLst/>
          </a:prstGeom>
        </p:spPr>
        <p:txBody>
          <a:bodyPr numCol="2" spcCol="540000">
            <a:noAutofit/>
          </a:bodyPr>
          <a:lstStyle>
            <a:lvl1pPr marL="467335" indent="-467335">
              <a:lnSpc>
                <a:spcPct val="120000"/>
              </a:lnSpc>
              <a:spcBef>
                <a:spcPts val="0"/>
              </a:spcBef>
              <a:spcAft>
                <a:spcPts val="572"/>
              </a:spcAft>
              <a:buFont typeface="+mj-lt"/>
              <a:buAutoNum type="arabicPeriod"/>
              <a:tabLst>
                <a:tab pos="1168338" algn="l"/>
              </a:tabLst>
              <a:defRPr sz="1905">
                <a:solidFill>
                  <a:schemeClr val="bg1"/>
                </a:solidFill>
              </a:defRPr>
            </a:lvl1pPr>
            <a:lvl2pPr marL="60959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21919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828791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243838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34423260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1509213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Agenda, 66pt</a:t>
            </a:r>
            <a:endParaRPr lang="en-US" dirty="0"/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268" y="2572318"/>
            <a:ext cx="9261201" cy="3600638"/>
          </a:xfrm>
          <a:prstGeom prst="rect">
            <a:avLst/>
          </a:prstGeom>
        </p:spPr>
        <p:txBody>
          <a:bodyPr numCol="2" spcCol="540000">
            <a:noAutofit/>
          </a:bodyPr>
          <a:lstStyle>
            <a:lvl1pPr marL="467335" indent="-467335">
              <a:lnSpc>
                <a:spcPct val="120000"/>
              </a:lnSpc>
              <a:spcBef>
                <a:spcPts val="0"/>
              </a:spcBef>
              <a:spcAft>
                <a:spcPts val="572"/>
              </a:spcAft>
              <a:buFont typeface="+mj-lt"/>
              <a:buAutoNum type="arabicPeriod"/>
              <a:tabLst>
                <a:tab pos="1168338" algn="l"/>
              </a:tabLst>
              <a:defRPr sz="1905">
                <a:solidFill>
                  <a:schemeClr val="tx1"/>
                </a:solidFill>
              </a:defRPr>
            </a:lvl1pPr>
            <a:lvl2pPr marL="60959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21919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828791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243838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24179673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_einfarbig_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5761626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Chapter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0372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_einfarbig_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5761626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Chapter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3676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_einfarbig_dunkel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Chapter, 66pt</a:t>
            </a:r>
            <a:endParaRPr lang="en-US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2267" y="4217634"/>
            <a:ext cx="9261202" cy="1955322"/>
          </a:xfrm>
        </p:spPr>
        <p:txBody>
          <a:bodyPr anchor="b"/>
          <a:lstStyle>
            <a:lvl1pPr marL="252547" indent="-252547">
              <a:spcAft>
                <a:spcPts val="1143"/>
              </a:spcAft>
              <a:buFont typeface="Arial" panose="020B0604020202020204" pitchFamily="34" charset="0"/>
              <a:buChar char="»"/>
              <a:defRPr sz="190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, 20pt</a:t>
            </a:r>
          </a:p>
        </p:txBody>
      </p:sp>
    </p:spTree>
    <p:extLst>
      <p:ext uri="{BB962C8B-B14F-4D97-AF65-F5344CB8AC3E}">
        <p14:creationId xmlns:p14="http://schemas.microsoft.com/office/powerpoint/2010/main" val="30663617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_einfarbig_hell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Chapter, 66pt</a:t>
            </a:r>
            <a:endParaRPr lang="en-US" dirty="0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2267" y="4217634"/>
            <a:ext cx="9261202" cy="1955322"/>
          </a:xfrm>
        </p:spPr>
        <p:txBody>
          <a:bodyPr anchor="b"/>
          <a:lstStyle>
            <a:lvl1pPr marL="252547" indent="-252547">
              <a:spcAft>
                <a:spcPts val="1143"/>
              </a:spcAft>
              <a:buFont typeface="Arial" panose="020B0604020202020204" pitchFamily="34" charset="0"/>
              <a:buChar char="»"/>
              <a:defRPr sz="1905" baseline="0"/>
            </a:lvl1pPr>
          </a:lstStyle>
          <a:p>
            <a:pPr lvl="0"/>
            <a:r>
              <a:rPr lang="de-DE" dirty="0"/>
              <a:t>Text, 20pt</a:t>
            </a:r>
          </a:p>
        </p:txBody>
      </p:sp>
    </p:spTree>
    <p:extLst>
      <p:ext uri="{BB962C8B-B14F-4D97-AF65-F5344CB8AC3E}">
        <p14:creationId xmlns:p14="http://schemas.microsoft.com/office/powerpoint/2010/main" val="40493379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2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5211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1768" cy="2160988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Imag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66707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1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5211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217633"/>
            <a:ext cx="11111768" cy="2160988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15000"/>
                    </a:prstClr>
                  </a:outerShdw>
                </a:effectLst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Imag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7348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horizontal_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12192000" cy="42176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5211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217633"/>
            <a:ext cx="11111768" cy="2160988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Imag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199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46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horizontal_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12192000" cy="42176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5211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4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217633"/>
            <a:ext cx="11111768" cy="2160988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5000"/>
              </a:lnSpc>
              <a:defRPr lang="en-US" sz="6287" i="0" kern="600" spc="-95" normalizeH="0" baseline="0" dirty="0">
                <a:solidFill>
                  <a:schemeClr val="tx1"/>
                </a:solidFill>
                <a:effectLst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Imag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664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402266" y="1920543"/>
            <a:ext cx="9466872" cy="4252413"/>
          </a:xfrm>
        </p:spPr>
        <p:txBody>
          <a:bodyPr anchor="b">
            <a:noAutofit/>
          </a:bodyPr>
          <a:lstStyle>
            <a:lvl1pPr algn="l" defTabSz="121919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572" b="1" kern="0" spc="-1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Statements </a:t>
            </a:r>
            <a:br>
              <a:rPr lang="de-DE" dirty="0"/>
            </a:br>
            <a:r>
              <a:rPr lang="de-DE" dirty="0" err="1"/>
              <a:t>Four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r>
              <a:rPr lang="de-DE" dirty="0"/>
              <a:t>, 48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8375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0782" y="6378620"/>
            <a:ext cx="5383252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>
          <a:xfrm>
            <a:off x="-1" y="1"/>
            <a:ext cx="5787496" cy="6857999"/>
          </a:xfr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6130783" y="411330"/>
            <a:ext cx="5383252" cy="5761626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4572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8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53178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 Bild  und Statements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0782" y="6378620"/>
            <a:ext cx="5383252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>
          <a:xfrm>
            <a:off x="-1" y="1"/>
            <a:ext cx="5787496" cy="6857999"/>
          </a:xfr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0783" y="2572318"/>
            <a:ext cx="5383716" cy="360063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z="2667" b="0" cap="all" spc="-95" baseline="0" dirty="0" smtClean="0">
                <a:latin typeface="Arial Black" panose="020B0A04020102020204" pitchFamily="34" charset="0"/>
              </a:defRPr>
            </a:lvl1pPr>
            <a:lvl2pPr marL="235735" indent="0">
              <a:buNone/>
              <a:defRPr lang="de-DE" sz="2667" b="0" cap="all" spc="-95" baseline="0" dirty="0" smtClean="0">
                <a:latin typeface="Arial Black" panose="020B0A04020102020204" pitchFamily="34" charset="0"/>
              </a:defRPr>
            </a:lvl2pPr>
            <a:lvl3pPr marL="471471" indent="0">
              <a:buNone/>
              <a:defRPr lang="de-DE" sz="2667" b="0" cap="all" spc="-95" baseline="0" dirty="0" smtClean="0">
                <a:latin typeface="Arial Black" panose="020B0A04020102020204" pitchFamily="34" charset="0"/>
              </a:defRPr>
            </a:lvl3pPr>
            <a:lvl4pPr marL="707205" indent="0">
              <a:buNone/>
              <a:defRPr lang="de-DE" sz="2667" b="0" cap="all" spc="-95" baseline="0" dirty="0" smtClean="0">
                <a:latin typeface="Arial Black" panose="020B0A04020102020204" pitchFamily="34" charset="0"/>
              </a:defRPr>
            </a:lvl4pPr>
            <a:lvl5pPr marL="930535" indent="0">
              <a:buNone/>
              <a:defRPr lang="de-DE" sz="2667" b="0" cap="all" spc="-95" baseline="0" dirty="0">
                <a:latin typeface="Arial Black" panose="020B0A04020102020204" pitchFamily="34" charset="0"/>
              </a:defRPr>
            </a:lvl5pPr>
          </a:lstStyle>
          <a:p>
            <a:pPr marL="252547" lvl="0" indent="-252547"/>
            <a:r>
              <a:rPr lang="de-DE" dirty="0"/>
              <a:t>Text, 28pt</a:t>
            </a:r>
          </a:p>
          <a:p>
            <a:pPr marL="471470" lvl="1" indent="-235735"/>
            <a:r>
              <a:rPr lang="de-DE" dirty="0"/>
              <a:t>Bullet</a:t>
            </a:r>
          </a:p>
          <a:p>
            <a:pPr marL="707206" lvl="2" indent="-235735"/>
            <a:r>
              <a:rPr lang="de-DE" dirty="0"/>
              <a:t>Bullet</a:t>
            </a:r>
          </a:p>
          <a:p>
            <a:pPr marL="930534" lvl="3" indent="-223328"/>
            <a:r>
              <a:rPr lang="de-DE" dirty="0"/>
              <a:t>Bullet</a:t>
            </a:r>
          </a:p>
          <a:p>
            <a:pPr marL="1166270" lvl="4" indent="-235735"/>
            <a:r>
              <a:rPr lang="de-DE" dirty="0"/>
              <a:t>Bullet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130783" y="411330"/>
            <a:ext cx="5383252" cy="1509213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4572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8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62613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mit Bild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0782" y="6378620"/>
            <a:ext cx="5383252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0781" y="1920543"/>
            <a:ext cx="5383717" cy="4252414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baseline="0" dirty="0" smtClean="0"/>
            </a:lvl2pPr>
            <a:lvl3pPr>
              <a:defRPr lang="de-DE" baseline="0" dirty="0" smtClean="0"/>
            </a:lvl3pPr>
            <a:lvl4pPr>
              <a:defRPr lang="de-DE" baseline="0" dirty="0" smtClean="0"/>
            </a:lvl4pPr>
            <a:lvl5pPr>
              <a:defRPr lang="de-DE" baseline="0" dirty="0"/>
            </a:lvl5pPr>
          </a:lstStyle>
          <a:p>
            <a:pPr marL="252547" lvl="0" indent="-252547"/>
            <a:r>
              <a:rPr lang="de-DE" dirty="0"/>
              <a:t>Text, 20pt</a:t>
            </a:r>
          </a:p>
          <a:p>
            <a:pPr marL="471470" lvl="1" indent="-235735"/>
            <a:r>
              <a:rPr lang="de-DE" dirty="0"/>
              <a:t>Bullet</a:t>
            </a:r>
          </a:p>
          <a:p>
            <a:pPr marL="707206" lvl="2" indent="-235735"/>
            <a:r>
              <a:rPr lang="de-DE" dirty="0"/>
              <a:t>Bullet</a:t>
            </a:r>
          </a:p>
          <a:p>
            <a:pPr marL="930534" lvl="3" indent="-223328"/>
            <a:r>
              <a:rPr lang="de-DE" dirty="0"/>
              <a:t>Bullet</a:t>
            </a:r>
          </a:p>
          <a:p>
            <a:pPr marL="1166270" lvl="4" indent="-235735"/>
            <a:r>
              <a:rPr lang="de-DE" dirty="0"/>
              <a:t>Bullet</a:t>
            </a:r>
          </a:p>
        </p:txBody>
      </p:sp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>
          <a:xfrm>
            <a:off x="-1" y="1"/>
            <a:ext cx="5787496" cy="6857999"/>
          </a:xfrm>
          <a:solidFill>
            <a:schemeClr val="accent3">
              <a:lumMod val="20000"/>
              <a:lumOff val="80000"/>
            </a:schemeClr>
          </a:solidFill>
          <a:ln w="6350"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130783" y="411330"/>
            <a:ext cx="5383252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5786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_oh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</p:spTree>
    <p:extLst>
      <p:ext uri="{BB962C8B-B14F-4D97-AF65-F5344CB8AC3E}">
        <p14:creationId xmlns:p14="http://schemas.microsoft.com/office/powerpoint/2010/main" val="37359054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3340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2266" y="1920543"/>
            <a:ext cx="9261202" cy="4252414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baseline="0" dirty="0" smtClean="0"/>
            </a:lvl2pPr>
            <a:lvl3pPr>
              <a:defRPr lang="de-DE" baseline="0" dirty="0" smtClean="0"/>
            </a:lvl3pPr>
            <a:lvl4pPr>
              <a:defRPr lang="de-DE" baseline="0" dirty="0" smtClean="0"/>
            </a:lvl4pPr>
            <a:lvl5pPr>
              <a:defRPr lang="de-DE" baseline="0" dirty="0"/>
            </a:lvl5pPr>
          </a:lstStyle>
          <a:p>
            <a:pPr marL="252547" lvl="0" indent="-252547"/>
            <a:r>
              <a:rPr lang="de-DE" dirty="0"/>
              <a:t>Text, 20pt</a:t>
            </a:r>
          </a:p>
          <a:p>
            <a:pPr marL="471470" lvl="1" indent="-235735"/>
            <a:r>
              <a:rPr lang="de-DE" dirty="0"/>
              <a:t>Bullet</a:t>
            </a:r>
          </a:p>
          <a:p>
            <a:pPr marL="707206" lvl="2" indent="-235735"/>
            <a:r>
              <a:rPr lang="de-DE" dirty="0"/>
              <a:t>Bullet</a:t>
            </a:r>
          </a:p>
          <a:p>
            <a:pPr marL="930534" lvl="3" indent="-223328"/>
            <a:r>
              <a:rPr lang="de-DE" dirty="0"/>
              <a:t>Bullet</a:t>
            </a:r>
          </a:p>
          <a:p>
            <a:pPr marL="1166270" lvl="4" indent="-235735"/>
            <a:r>
              <a:rPr lang="de-DE" dirty="0"/>
              <a:t>Bulle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94835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char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402267" y="1920542"/>
            <a:ext cx="11111768" cy="4252415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baseline="0" dirty="0" smtClean="0"/>
            </a:lvl2pPr>
            <a:lvl3pPr>
              <a:defRPr lang="de-DE" baseline="0" dirty="0" smtClean="0"/>
            </a:lvl3pPr>
            <a:lvl4pPr>
              <a:defRPr lang="de-DE" baseline="0" dirty="0" smtClean="0"/>
            </a:lvl4pPr>
            <a:lvl5pPr>
              <a:defRPr lang="de-DE" baseline="0" dirty="0"/>
            </a:lvl5pPr>
          </a:lstStyle>
          <a:p>
            <a:pPr marL="252547" lvl="0" indent="-252547"/>
            <a:r>
              <a:rPr lang="de-DE" dirty="0"/>
              <a:t>Text, 20pt</a:t>
            </a:r>
          </a:p>
          <a:p>
            <a:pPr marL="471470" lvl="1" indent="-235735"/>
            <a:r>
              <a:rPr lang="de-DE" dirty="0"/>
              <a:t>Bullet</a:t>
            </a:r>
          </a:p>
          <a:p>
            <a:pPr marL="707206" lvl="2" indent="-235735"/>
            <a:r>
              <a:rPr lang="de-DE" dirty="0"/>
              <a:t>Bullet</a:t>
            </a:r>
          </a:p>
          <a:p>
            <a:pPr marL="930534" lvl="3" indent="-223328"/>
            <a:r>
              <a:rPr lang="de-DE" dirty="0"/>
              <a:t>Bullet</a:t>
            </a:r>
          </a:p>
          <a:p>
            <a:pPr marL="1166270" lvl="4" indent="-235735"/>
            <a:r>
              <a:rPr lang="de-DE" dirty="0"/>
              <a:t>Bulle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9241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inhaltschart vertikal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6130782" y="1920543"/>
            <a:ext cx="5306788" cy="4252413"/>
          </a:xfrm>
        </p:spPr>
        <p:txBody>
          <a:bodyPr/>
          <a:lstStyle>
            <a:lvl1pPr marL="235735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470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7206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0534" indent="-223328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270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20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402266" y="1920543"/>
            <a:ext cx="5385229" cy="4252413"/>
          </a:xfrm>
        </p:spPr>
        <p:txBody>
          <a:bodyPr/>
          <a:lstStyle>
            <a:lvl1pPr marL="252547" indent="-25254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470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7206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0534" indent="-223328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6270" indent="-235735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143"/>
              </a:spcAft>
              <a:buFont typeface="Arial" panose="020B0604020202020204" pitchFamily="34" charset="0"/>
              <a:buChar char="»"/>
              <a:defRPr lang="de-DE" sz="1905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20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0050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1145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chart mi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8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402267" y="2572319"/>
            <a:ext cx="11112232" cy="35993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43"/>
              </a:spcAft>
              <a:buNone/>
              <a:defRPr sz="1905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02267" y="1920543"/>
            <a:ext cx="11112231" cy="651775"/>
          </a:xfrm>
        </p:spPr>
        <p:txBody>
          <a:bodyPr/>
          <a:lstStyle>
            <a:lvl1pPr mar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4" b="1" baseline="0">
                <a:solidFill>
                  <a:schemeClr val="tx1"/>
                </a:solidFill>
              </a:defRPr>
            </a:lvl1pPr>
            <a:lvl2pPr marL="2109211" indent="-2109211" algn="l">
              <a:lnSpc>
                <a:spcPct val="100000"/>
              </a:lnSpc>
              <a:buFontTx/>
              <a:buNone/>
              <a:defRPr sz="1563"/>
            </a:lvl2pPr>
            <a:lvl3pPr marL="2109211" indent="-2109211" algn="l">
              <a:lnSpc>
                <a:spcPct val="100000"/>
              </a:lnSpc>
              <a:buFontTx/>
              <a:buNone/>
              <a:defRPr sz="1563"/>
            </a:lvl3pPr>
            <a:lvl4pPr marL="2109211" indent="-2109211" algn="l">
              <a:lnSpc>
                <a:spcPct val="100000"/>
              </a:lnSpc>
              <a:buFontTx/>
              <a:buNone/>
              <a:defRPr sz="1563"/>
            </a:lvl4pPr>
            <a:lvl5pPr marL="2109211" indent="-2109211" algn="l">
              <a:lnSpc>
                <a:spcPct val="100000"/>
              </a:lnSpc>
              <a:buFontTx/>
              <a:buNone/>
              <a:defRPr sz="1563"/>
            </a:lvl5pPr>
          </a:lstStyle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44819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ppel-Diagrammchart mit Headline 2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6"/>
            <a:ext cx="275235" cy="20566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0800" y="6378620"/>
            <a:ext cx="11111769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7" name="Diagrammplatzhalter 12"/>
          <p:cNvSpPr>
            <a:spLocks noGrp="1"/>
          </p:cNvSpPr>
          <p:nvPr>
            <p:ph type="chart" sz="quarter" idx="17" hasCustomPrompt="1"/>
          </p:nvPr>
        </p:nvSpPr>
        <p:spPr>
          <a:xfrm>
            <a:off x="6130781" y="2572318"/>
            <a:ext cx="5381787" cy="36006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43"/>
              </a:spcAft>
              <a:buNone/>
              <a:defRPr sz="1905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21" name="Diagrammplatzhalter 12"/>
          <p:cNvSpPr>
            <a:spLocks noGrp="1"/>
          </p:cNvSpPr>
          <p:nvPr>
            <p:ph type="chart" sz="quarter" idx="11" hasCustomPrompt="1"/>
          </p:nvPr>
        </p:nvSpPr>
        <p:spPr>
          <a:xfrm>
            <a:off x="402266" y="2572319"/>
            <a:ext cx="5385229" cy="3599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1143"/>
              </a:spcAft>
              <a:buNone/>
              <a:defRPr sz="1905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02267" y="1920543"/>
            <a:ext cx="5385229" cy="651775"/>
          </a:xfrm>
        </p:spPr>
        <p:txBody>
          <a:bodyPr/>
          <a:lstStyle>
            <a:lvl1pPr mar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4" b="1" baseline="0">
                <a:solidFill>
                  <a:schemeClr val="tx1"/>
                </a:solidFill>
              </a:defRPr>
            </a:lvl1pPr>
            <a:lvl2pPr marL="2109211" indent="-2109211" algn="l">
              <a:lnSpc>
                <a:spcPct val="100000"/>
              </a:lnSpc>
              <a:buFontTx/>
              <a:buNone/>
              <a:defRPr sz="1563"/>
            </a:lvl2pPr>
            <a:lvl3pPr marL="2109211" indent="-2109211" algn="l">
              <a:lnSpc>
                <a:spcPct val="100000"/>
              </a:lnSpc>
              <a:buFontTx/>
              <a:buNone/>
              <a:defRPr sz="1563"/>
            </a:lvl3pPr>
            <a:lvl4pPr marL="2109211" indent="-2109211" algn="l">
              <a:lnSpc>
                <a:spcPct val="100000"/>
              </a:lnSpc>
              <a:buFontTx/>
              <a:buNone/>
              <a:defRPr sz="1563"/>
            </a:lvl4pPr>
            <a:lvl5pPr marL="2109211" indent="-2109211" algn="l">
              <a:lnSpc>
                <a:spcPct val="100000"/>
              </a:lnSpc>
              <a:buFontTx/>
              <a:buNone/>
              <a:defRPr sz="1563"/>
            </a:lvl5pPr>
          </a:lstStyle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6127339" y="1926040"/>
            <a:ext cx="5385229" cy="651775"/>
          </a:xfrm>
        </p:spPr>
        <p:txBody>
          <a:bodyPr/>
          <a:lstStyle>
            <a:lvl1pPr mar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334" b="1" baseline="0">
                <a:solidFill>
                  <a:schemeClr val="tx1"/>
                </a:solidFill>
              </a:defRPr>
            </a:lvl1pPr>
            <a:lvl2pPr marL="2109211" indent="-2109211" algn="l">
              <a:lnSpc>
                <a:spcPct val="100000"/>
              </a:lnSpc>
              <a:buFontTx/>
              <a:buNone/>
              <a:defRPr sz="1563"/>
            </a:lvl2pPr>
            <a:lvl3pPr marL="2109211" indent="-2109211" algn="l">
              <a:lnSpc>
                <a:spcPct val="100000"/>
              </a:lnSpc>
              <a:buFontTx/>
              <a:buNone/>
              <a:defRPr sz="1563"/>
            </a:lvl3pPr>
            <a:lvl4pPr marL="2109211" indent="-2109211" algn="l">
              <a:lnSpc>
                <a:spcPct val="100000"/>
              </a:lnSpc>
              <a:buFontTx/>
              <a:buNone/>
              <a:defRPr sz="1563"/>
            </a:lvl4pPr>
            <a:lvl5pPr marL="2109211" indent="-2109211" algn="l">
              <a:lnSpc>
                <a:spcPct val="100000"/>
              </a:lnSpc>
              <a:buFontTx/>
              <a:buNone/>
              <a:defRPr sz="1563"/>
            </a:lvl5pPr>
          </a:lstStyle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Chart title</a:t>
            </a:r>
          </a:p>
          <a:p>
            <a:pPr marL="0" lvl="0" indent="0" algn="l" defTabSz="121919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dirty="0"/>
              <a:t>Data </a:t>
            </a:r>
            <a:r>
              <a:rPr lang="de-DE" dirty="0" err="1"/>
              <a:t>form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8521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_Dokum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7"/>
            <a:ext cx="275235" cy="20566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2267" y="1920542"/>
            <a:ext cx="11112231" cy="4252415"/>
          </a:xfrm>
        </p:spPr>
        <p:txBody>
          <a:bodyPr numCol="2" spcCol="540000"/>
          <a:lstStyle>
            <a:lvl1pPr marL="172397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4794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7190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9002" indent="-161811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1399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878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40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8" y="205667"/>
            <a:ext cx="275235" cy="20566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bg1"/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2267" y="6378620"/>
            <a:ext cx="11111768" cy="273716"/>
          </a:xfrm>
        </p:spPr>
        <p:txBody>
          <a:bodyPr anchor="b"/>
          <a:lstStyle>
            <a:lvl1pPr marL="0" algn="l" defTabSz="1232451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de-DE" sz="857" kern="1200" baseline="0" dirty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Source </a:t>
            </a:r>
            <a:r>
              <a:rPr lang="de-DE" dirty="0" err="1"/>
              <a:t>and</a:t>
            </a:r>
            <a:r>
              <a:rPr lang="de-DE" dirty="0"/>
              <a:t> Bas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2267" y="1920542"/>
            <a:ext cx="11111768" cy="4252415"/>
          </a:xfrm>
        </p:spPr>
        <p:txBody>
          <a:bodyPr numCol="2" spcCol="540000"/>
          <a:lstStyle>
            <a:lvl1pPr marL="172397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794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190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79002" indent="-161811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1399" indent="-172397" algn="l" defTabSz="1219194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953"/>
              </a:spcAft>
              <a:buFont typeface="Arial" panose="020B0604020202020204" pitchFamily="34" charset="0"/>
              <a:buChar char="»"/>
              <a:defRPr lang="de-DE" sz="1524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, 16pt</a:t>
            </a:r>
          </a:p>
          <a:p>
            <a:pPr lvl="1"/>
            <a:r>
              <a:rPr lang="de-DE" dirty="0"/>
              <a:t>Bullet</a:t>
            </a:r>
          </a:p>
          <a:p>
            <a:pPr lvl="2"/>
            <a:r>
              <a:rPr lang="de-DE" dirty="0"/>
              <a:t>Bullet</a:t>
            </a:r>
          </a:p>
          <a:p>
            <a:pPr lvl="3"/>
            <a:r>
              <a:rPr lang="de-DE" dirty="0"/>
              <a:t>Bullet</a:t>
            </a:r>
          </a:p>
          <a:p>
            <a:pPr lvl="4"/>
            <a:r>
              <a:rPr lang="de-DE" dirty="0"/>
              <a:t>Bulle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02267" y="411330"/>
            <a:ext cx="11111768" cy="890708"/>
          </a:xfrm>
        </p:spPr>
        <p:txBody>
          <a:bodyPr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de-DE" sz="3810" b="1" kern="0" spc="-52" baseline="0" dirty="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Headline 40pt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</a:t>
            </a:r>
            <a:r>
              <a:rPr lang="de-DE" dirty="0" err="1"/>
              <a:t>ma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684200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8" name="Rechteck 5"/>
          <p:cNvSpPr/>
          <p:nvPr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268" y="2675150"/>
            <a:ext cx="9466871" cy="3497806"/>
          </a:xfrm>
          <a:prstGeom prst="rect">
            <a:avLst/>
          </a:prstGeom>
        </p:spPr>
        <p:txBody>
          <a:bodyPr numCol="2" spcCol="540000">
            <a:noAutofit/>
          </a:bodyPr>
          <a:lstStyle>
            <a:lvl1pPr marL="467335" indent="-467335">
              <a:lnSpc>
                <a:spcPct val="120000"/>
              </a:lnSpc>
              <a:spcBef>
                <a:spcPts val="0"/>
              </a:spcBef>
              <a:spcAft>
                <a:spcPts val="572"/>
              </a:spcAft>
              <a:buFont typeface="+mj-lt"/>
              <a:buAutoNum type="arabicPeriod"/>
              <a:tabLst>
                <a:tab pos="1168338" algn="l"/>
              </a:tabLst>
              <a:defRPr sz="1905">
                <a:solidFill>
                  <a:schemeClr val="bg1"/>
                </a:solidFill>
              </a:defRPr>
            </a:lvl1pPr>
            <a:lvl2pPr marL="60959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121919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828791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2438387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  <a:p>
            <a:pPr lvl="0"/>
            <a:r>
              <a:rPr lang="de-DE" dirty="0"/>
              <a:t>Chapter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2232" cy="1509213"/>
          </a:xfrm>
        </p:spPr>
        <p:txBody>
          <a:bodyPr anchor="t"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6287" b="1" kern="0" spc="-191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genda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412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Zwischentitel_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8" name="Rechteck 3"/>
          <p:cNvSpPr/>
          <p:nvPr/>
        </p:nvSpPr>
        <p:spPr bwMode="white">
          <a:xfrm>
            <a:off x="0" y="1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44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02267" y="411330"/>
            <a:ext cx="11112232" cy="1509213"/>
          </a:xfrm>
        </p:spPr>
        <p:txBody>
          <a:bodyPr anchor="t">
            <a:noAutofit/>
          </a:bodyPr>
          <a:lstStyle>
            <a:lvl1pPr algn="l" defTabSz="1219194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6287" b="1" kern="0" spc="-191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Chapter title, 6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4657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ischentitel_einfarbig_hell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351587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5211"/>
            </a:lvl1pPr>
          </a:lstStyle>
          <a:p>
            <a:r>
              <a:rPr lang="de-DE" dirty="0"/>
              <a:t>Images</a:t>
            </a:r>
          </a:p>
        </p:txBody>
      </p:sp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402268" y="411329"/>
            <a:ext cx="11112233" cy="3464492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defRPr lang="en-US" sz="11431" i="0" kern="2000" spc="0" normalizeH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de-DE" dirty="0"/>
              <a:t>Chapter 120pt</a:t>
            </a:r>
            <a:endParaRPr lang="en-US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2268" y="4217632"/>
            <a:ext cx="9261201" cy="19558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de-DE" dirty="0" smtClean="0"/>
            </a:lvl1pPr>
          </a:lstStyle>
          <a:p>
            <a:pPr marL="252547" lvl="0" indent="-252547"/>
            <a:r>
              <a:rPr lang="de-DE" dirty="0"/>
              <a:t>Text, 20pt</a:t>
            </a:r>
          </a:p>
        </p:txBody>
      </p:sp>
    </p:spTree>
    <p:extLst>
      <p:ext uri="{BB962C8B-B14F-4D97-AF65-F5344CB8AC3E}">
        <p14:creationId xmlns:p14="http://schemas.microsoft.com/office/powerpoint/2010/main" val="33167373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49F76EC-0FF3-C8B6-E1FA-FDCA50C5A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49F76EC-0FF3-C8B6-E1FA-FDCA50C5A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"/>
          <p:cNvSpPr>
            <a:spLocks noGrp="1"/>
          </p:cNvSpPr>
          <p:nvPr>
            <p:ph type="subTitle" idx="13" hasCustomPrompt="1"/>
          </p:nvPr>
        </p:nvSpPr>
        <p:spPr bwMode="gray">
          <a:xfrm>
            <a:off x="334963" y="659362"/>
            <a:ext cx="8641357" cy="360040"/>
          </a:xfrm>
          <a:prstGeom prst="rect">
            <a:avLst/>
          </a:prstGeom>
        </p:spPr>
        <p:txBody>
          <a:bodyPr wrap="none"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9pPr>
          </a:lstStyle>
          <a:p>
            <a:r>
              <a:rPr lang="en-GB" dirty="0"/>
              <a:t>Insert your sub-headline in </a:t>
            </a:r>
            <a:r>
              <a:rPr lang="en-GB" dirty="0" err="1"/>
              <a:t>Lato</a:t>
            </a:r>
            <a:r>
              <a:rPr lang="en-GB" dirty="0"/>
              <a:t> light 20 </a:t>
            </a:r>
            <a:r>
              <a:rPr lang="en-GB" dirty="0" err="1"/>
              <a:t>pt</a:t>
            </a:r>
            <a:r>
              <a:rPr lang="en-GB" dirty="0"/>
              <a:t> her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0795529-4D73-3332-2945-704225E04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60648"/>
            <a:ext cx="8641357" cy="369332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Insert your headline in </a:t>
            </a:r>
            <a:r>
              <a:rPr lang="en-GB" dirty="0" err="1"/>
              <a:t>Lato</a:t>
            </a:r>
            <a:r>
              <a:rPr lang="en-GB" dirty="0"/>
              <a:t> Heavy 24 </a:t>
            </a:r>
            <a:r>
              <a:rPr lang="en-GB" dirty="0" err="1"/>
              <a:t>pt</a:t>
            </a:r>
            <a:r>
              <a:rPr lang="en-GB" dirty="0"/>
              <a:t> her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EF647F6E-02E4-5A28-5FC9-0AE0D7CB6F7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92A6A39-ECEF-5F4F-7D24-206298A0A9F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52000" y="6957393"/>
            <a:ext cx="10584560" cy="7200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900">
                <a:solidFill>
                  <a:schemeClr val="tx1">
                    <a:alpha val="0"/>
                  </a:schemeClr>
                </a:solidFill>
              </a:defRPr>
            </a:lvl1pPr>
            <a:lvl2pPr marL="0" indent="0">
              <a:defRPr sz="900"/>
            </a:lvl2pPr>
            <a:lvl3pPr marL="0" indent="0">
              <a:defRPr sz="900"/>
            </a:lvl3pPr>
            <a:lvl4pPr marL="0" indent="0">
              <a:defRPr sz="900"/>
            </a:lvl4pPr>
            <a:lvl5pPr marL="0" indent="0">
              <a:defRPr sz="900"/>
            </a:lvl5pPr>
            <a:lvl6pPr marL="0" indent="0">
              <a:defRPr sz="900"/>
            </a:lvl6pPr>
            <a:lvl7pPr marL="0" indent="0">
              <a:defRPr sz="900"/>
            </a:lvl7pPr>
            <a:lvl8pPr marL="0" indent="0">
              <a:defRPr sz="900"/>
            </a:lvl8pPr>
            <a:lvl9pPr marL="0" indent="0">
              <a:defRPr sz="900"/>
            </a:lvl9pPr>
          </a:lstStyle>
          <a:p>
            <a:r>
              <a:rPr lang="de-DE"/>
              <a:t>Der Konsument nach Corona und Consumer Voice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C7A0F2-CEA0-277C-7563-ECC7A39502F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208568" y="6957394"/>
            <a:ext cx="432048" cy="72008"/>
          </a:xfrm>
        </p:spPr>
        <p:txBody>
          <a:bodyPr/>
          <a:lstStyle>
            <a:lvl1pPr>
              <a:defRPr sz="1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AEA825B-D749-4F0A-886E-8D45A39EAF2A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807B01A-3552-EF40-1656-EEB891FB7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87488" y="6525344"/>
            <a:ext cx="9217024" cy="14401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Source, Footnote</a:t>
            </a:r>
            <a:endParaRPr lang="en-GB" dirty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83CF277-C745-96CF-3B26-00240E25A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68768" y="-171392"/>
            <a:ext cx="12025408" cy="6264688"/>
            <a:chOff x="-168768" y="-171392"/>
            <a:chExt cx="12025408" cy="6264688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361FEB40-DC8C-45CE-16D5-DEE863A179A7}"/>
                </a:ext>
              </a:extLst>
            </p:cNvPr>
            <p:cNvCxnSpPr/>
            <p:nvPr userDrawn="1"/>
          </p:nvCxnSpPr>
          <p:spPr bwMode="gray">
            <a:xfrm>
              <a:off x="33536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0909279E-8785-E95C-CD9E-8B659DD06937}"/>
                </a:ext>
              </a:extLst>
            </p:cNvPr>
            <p:cNvCxnSpPr/>
            <p:nvPr userDrawn="1"/>
          </p:nvCxnSpPr>
          <p:spPr bwMode="gray">
            <a:xfrm>
              <a:off x="436780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F56B99-0456-ECE2-0C4E-177B2F4E46E9}"/>
                </a:ext>
              </a:extLst>
            </p:cNvPr>
            <p:cNvCxnSpPr/>
            <p:nvPr userDrawn="1"/>
          </p:nvCxnSpPr>
          <p:spPr bwMode="gray">
            <a:xfrm>
              <a:off x="494387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19D9628E-0B32-30B1-A064-5C167AB5E212}"/>
                </a:ext>
              </a:extLst>
            </p:cNvPr>
            <p:cNvCxnSpPr/>
            <p:nvPr userDrawn="1"/>
          </p:nvCxnSpPr>
          <p:spPr bwMode="gray">
            <a:xfrm>
              <a:off x="667206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820E157-A4CC-A9E2-04E7-51B6BF1F3A0D}"/>
                </a:ext>
              </a:extLst>
            </p:cNvPr>
            <p:cNvCxnSpPr/>
            <p:nvPr userDrawn="1"/>
          </p:nvCxnSpPr>
          <p:spPr bwMode="gray">
            <a:xfrm>
              <a:off x="609600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36B47171-B86D-80BC-31F7-850BF667074B}"/>
                </a:ext>
              </a:extLst>
            </p:cNvPr>
            <p:cNvCxnSpPr/>
            <p:nvPr userDrawn="1"/>
          </p:nvCxnSpPr>
          <p:spPr bwMode="gray">
            <a:xfrm>
              <a:off x="724812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345FACF7-0462-675E-DDD5-32C265D9067D}"/>
                </a:ext>
              </a:extLst>
            </p:cNvPr>
            <p:cNvCxnSpPr/>
            <p:nvPr userDrawn="1"/>
          </p:nvCxnSpPr>
          <p:spPr bwMode="gray">
            <a:xfrm>
              <a:off x="782419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C8EB43D7-846B-0AA7-C285-164F354A2DA9}"/>
                </a:ext>
              </a:extLst>
            </p:cNvPr>
            <p:cNvCxnSpPr/>
            <p:nvPr userDrawn="1"/>
          </p:nvCxnSpPr>
          <p:spPr bwMode="gray">
            <a:xfrm>
              <a:off x="840025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C55913F1-7414-5E37-4EAA-3C2C35D13C0A}"/>
                </a:ext>
              </a:extLst>
            </p:cNvPr>
            <p:cNvCxnSpPr/>
            <p:nvPr userDrawn="1"/>
          </p:nvCxnSpPr>
          <p:spPr bwMode="gray">
            <a:xfrm>
              <a:off x="897632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B855F45F-779D-2EDE-143D-756CF15F1CEF}"/>
                </a:ext>
              </a:extLst>
            </p:cNvPr>
            <p:cNvCxnSpPr/>
            <p:nvPr userDrawn="1"/>
          </p:nvCxnSpPr>
          <p:spPr bwMode="gray">
            <a:xfrm>
              <a:off x="1128057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9ABCC2D-48C9-FF55-4383-4AD9A8322CE8}"/>
                </a:ext>
              </a:extLst>
            </p:cNvPr>
            <p:cNvCxnSpPr/>
            <p:nvPr userDrawn="1"/>
          </p:nvCxnSpPr>
          <p:spPr bwMode="gray">
            <a:xfrm>
              <a:off x="1185664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B21E6863-C58D-356B-A9E4-90BCF720EA3F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688" y="29665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732696DF-1F9A-AD34-33BE-C25B59C5E620}"/>
                </a:ext>
              </a:extLst>
            </p:cNvPr>
            <p:cNvCxnSpPr/>
            <p:nvPr userDrawn="1"/>
          </p:nvCxnSpPr>
          <p:spPr bwMode="gray">
            <a:xfrm>
              <a:off x="3215680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3272E917-08D4-CC26-E627-2902F6409543}"/>
                </a:ext>
              </a:extLst>
            </p:cNvPr>
            <p:cNvCxnSpPr/>
            <p:nvPr userDrawn="1"/>
          </p:nvCxnSpPr>
          <p:spPr bwMode="gray">
            <a:xfrm>
              <a:off x="379174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211DFF1C-2109-D419-8D3D-3C66662F913E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04" y="87272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45757A65-B2B4-EDF6-5281-D99ABC925297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12" y="202484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DF9CAC55-15F8-2DBD-233A-2C9BE7217598}"/>
                </a:ext>
              </a:extLst>
            </p:cNvPr>
            <p:cNvCxnSpPr>
              <a:cxnSpLocks/>
            </p:cNvCxnSpPr>
            <p:nvPr userDrawn="1"/>
          </p:nvCxnSpPr>
          <p:spPr bwMode="gray">
            <a:xfrm rot="5400000">
              <a:off x="-132768" y="605729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4220985A-2DAE-FEAB-803B-8E5B9D812986}"/>
                </a:ext>
              </a:extLst>
            </p:cNvPr>
            <p:cNvCxnSpPr/>
            <p:nvPr/>
          </p:nvCxnSpPr>
          <p:spPr bwMode="gray">
            <a:xfrm>
              <a:off x="1070451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A174CF69-6471-845D-9717-A680C0962E52}"/>
                </a:ext>
              </a:extLst>
            </p:cNvPr>
            <p:cNvCxnSpPr/>
            <p:nvPr/>
          </p:nvCxnSpPr>
          <p:spPr bwMode="gray">
            <a:xfrm>
              <a:off x="1012844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>
              <a:extLst>
                <a:ext uri="{FF2B5EF4-FFF2-40B4-BE49-F238E27FC236}">
                  <a16:creationId xmlns:a16="http://schemas.microsoft.com/office/drawing/2014/main" id="{80AC1286-3015-6EB9-5754-893B73DC0C3F}"/>
                </a:ext>
              </a:extLst>
            </p:cNvPr>
            <p:cNvCxnSpPr/>
            <p:nvPr/>
          </p:nvCxnSpPr>
          <p:spPr bwMode="gray">
            <a:xfrm>
              <a:off x="955059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EA28E21F-3707-04F6-337B-45BD05906EEE}"/>
                </a:ext>
              </a:extLst>
            </p:cNvPr>
            <p:cNvCxnSpPr/>
            <p:nvPr/>
          </p:nvCxnSpPr>
          <p:spPr bwMode="gray">
            <a:xfrm>
              <a:off x="551973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FD165575-EAFE-0A05-F2A3-0EBEB82A5DAD}"/>
                </a:ext>
              </a:extLst>
            </p:cNvPr>
            <p:cNvCxnSpPr/>
            <p:nvPr/>
          </p:nvCxnSpPr>
          <p:spPr bwMode="gray">
            <a:xfrm>
              <a:off x="2639616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6320B814-118C-AB6F-FCBE-EBF8902904E5}"/>
                </a:ext>
              </a:extLst>
            </p:cNvPr>
            <p:cNvCxnSpPr/>
            <p:nvPr/>
          </p:nvCxnSpPr>
          <p:spPr bwMode="gray">
            <a:xfrm>
              <a:off x="2063552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F8AFACBD-037D-8124-6B86-7A73249D3DF1}"/>
                </a:ext>
              </a:extLst>
            </p:cNvPr>
            <p:cNvCxnSpPr/>
            <p:nvPr/>
          </p:nvCxnSpPr>
          <p:spPr bwMode="gray">
            <a:xfrm>
              <a:off x="1487488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B745D536-C0C6-E338-E706-B0D1960E4920}"/>
                </a:ext>
              </a:extLst>
            </p:cNvPr>
            <p:cNvCxnSpPr/>
            <p:nvPr/>
          </p:nvCxnSpPr>
          <p:spPr bwMode="gray">
            <a:xfrm>
              <a:off x="911424" y="-17139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C8E6CA72-FFF8-4DF0-4FF7-BC68D91C4957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04" y="144878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64099ABF-1039-FC88-557F-8855CEC039B4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260091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358B961F-6C17-4952-BA6C-FF4E35354A25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176976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3B325C11-5D7D-0AF5-678E-49574A7B64D3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3753040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163B6C7E-2221-3A80-AE5F-B4040FB16F4B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329104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A39D0634-3486-49A4-6F41-2645A5F614C0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4905168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8BBCC9C5-69D9-E7CC-CCDB-B0AFE93A77AE}"/>
                </a:ext>
              </a:extLst>
            </p:cNvPr>
            <p:cNvCxnSpPr>
              <a:cxnSpLocks/>
            </p:cNvCxnSpPr>
            <p:nvPr/>
          </p:nvCxnSpPr>
          <p:spPr bwMode="gray">
            <a:xfrm rot="5400000">
              <a:off x="-132712" y="5481232"/>
              <a:ext cx="0" cy="72000"/>
            </a:xfrm>
            <a:prstGeom prst="line">
              <a:avLst/>
            </a:prstGeom>
            <a:ln w="6350">
              <a:solidFill>
                <a:srgbClr val="D233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56110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4" orient="horz" pos="3838" userDrawn="1">
          <p15:clr>
            <a:srgbClr val="FBAE40"/>
          </p15:clr>
        </p15:guide>
        <p15:guide id="5" pos="211" userDrawn="1">
          <p15:clr>
            <a:srgbClr val="FBAE40"/>
          </p15:clr>
        </p15:guide>
        <p15:guide id="6" orient="horz" pos="935" userDrawn="1">
          <p15:clr>
            <a:srgbClr val="FBAE40"/>
          </p15:clr>
        </p15:guide>
        <p15:guide id="7" orient="horz" pos="212" userDrawn="1">
          <p15:clr>
            <a:srgbClr val="FBAE40"/>
          </p15:clr>
        </p15:guide>
        <p15:guide id="8" pos="7469" userDrawn="1">
          <p15:clr>
            <a:srgbClr val="FBAE40"/>
          </p15:clr>
        </p15:guide>
        <p15:guide id="9" pos="7106" userDrawn="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| Maga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0A31A9-9924-696E-FB66-4436CE506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0A31A9-9924-696E-FB66-4436CE50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F556759-D0F1-F371-D708-872DD959548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7/26/2022</a:t>
            </a:r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F240A2D-DF33-4064-C42D-8ABF8FAF900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4EA0A6C-E972-430F-366A-D572486AD0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AEA825B-D749-4F0A-886E-8D45A39EAF2A}" type="slidenum">
              <a:rPr lang="de-DE" smtClean="0"/>
              <a:pPr/>
              <a:t>‹N›</a:t>
            </a:fld>
            <a:endParaRPr lang="de-DE"/>
          </a:p>
        </p:txBody>
      </p:sp>
      <p:sp>
        <p:nvSpPr>
          <p:cNvPr id="643" name="Source">
            <a:extLst>
              <a:ext uri="{FF2B5EF4-FFF2-40B4-BE49-F238E27FC236}">
                <a16:creationId xmlns:a16="http://schemas.microsoft.com/office/drawing/2014/main" id="{CB081D7B-28DD-9941-7ABB-B472540D57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487488" y="6525000"/>
            <a:ext cx="9217024" cy="144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900" b="0">
                <a:latin typeface="+mn-lt"/>
              </a:defRPr>
            </a:lvl9pPr>
          </a:lstStyle>
          <a:p>
            <a:pPr lvl="0"/>
            <a:r>
              <a:rPr lang="en-GB" dirty="0"/>
              <a:t>Source, Footnote</a:t>
            </a:r>
          </a:p>
        </p:txBody>
      </p:sp>
      <p:grpSp>
        <p:nvGrpSpPr>
          <p:cNvPr id="404" name="Gruppieren 403">
            <a:extLst>
              <a:ext uri="{FF2B5EF4-FFF2-40B4-BE49-F238E27FC236}">
                <a16:creationId xmlns:a16="http://schemas.microsoft.com/office/drawing/2014/main" id="{04C048BE-7905-D610-6B61-0D5ECA7CC035}"/>
              </a:ext>
            </a:extLst>
          </p:cNvPr>
          <p:cNvGrpSpPr/>
          <p:nvPr userDrawn="1"/>
        </p:nvGrpSpPr>
        <p:grpSpPr>
          <a:xfrm>
            <a:off x="317360" y="1484784"/>
            <a:ext cx="11539280" cy="4626512"/>
            <a:chOff x="317360" y="1484784"/>
            <a:chExt cx="11539280" cy="4626512"/>
          </a:xfrm>
        </p:grpSpPr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C8534E3C-2CF5-A3A2-0400-83854F08E4B7}"/>
                </a:ext>
              </a:extLst>
            </p:cNvPr>
            <p:cNvSpPr/>
            <p:nvPr userDrawn="1"/>
          </p:nvSpPr>
          <p:spPr bwMode="gray">
            <a:xfrm>
              <a:off x="1126257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06" name="Rechteck 405">
              <a:extLst>
                <a:ext uri="{FF2B5EF4-FFF2-40B4-BE49-F238E27FC236}">
                  <a16:creationId xmlns:a16="http://schemas.microsoft.com/office/drawing/2014/main" id="{2642479F-4D57-075E-49AE-CE7FF522A9C7}"/>
                </a:ext>
              </a:extLst>
            </p:cNvPr>
            <p:cNvSpPr/>
            <p:nvPr userDrawn="1"/>
          </p:nvSpPr>
          <p:spPr bwMode="gray">
            <a:xfrm>
              <a:off x="1068651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07" name="Rechteck 406">
              <a:extLst>
                <a:ext uri="{FF2B5EF4-FFF2-40B4-BE49-F238E27FC236}">
                  <a16:creationId xmlns:a16="http://schemas.microsoft.com/office/drawing/2014/main" id="{2FBBCAD6-B2D5-EEE4-80F3-7B21C3C50302}"/>
                </a:ext>
              </a:extLst>
            </p:cNvPr>
            <p:cNvSpPr/>
            <p:nvPr userDrawn="1"/>
          </p:nvSpPr>
          <p:spPr bwMode="gray">
            <a:xfrm>
              <a:off x="1011044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08" name="Rechteck 407">
              <a:extLst>
                <a:ext uri="{FF2B5EF4-FFF2-40B4-BE49-F238E27FC236}">
                  <a16:creationId xmlns:a16="http://schemas.microsoft.com/office/drawing/2014/main" id="{552A4487-02CF-EE9D-549E-FA44DA3C6164}"/>
                </a:ext>
              </a:extLst>
            </p:cNvPr>
            <p:cNvSpPr/>
            <p:nvPr userDrawn="1"/>
          </p:nvSpPr>
          <p:spPr bwMode="gray">
            <a:xfrm>
              <a:off x="953438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09" name="Rechteck 408">
              <a:extLst>
                <a:ext uri="{FF2B5EF4-FFF2-40B4-BE49-F238E27FC236}">
                  <a16:creationId xmlns:a16="http://schemas.microsoft.com/office/drawing/2014/main" id="{DAA139EA-D1B0-79B9-9A92-275C1BB638FF}"/>
                </a:ext>
              </a:extLst>
            </p:cNvPr>
            <p:cNvSpPr/>
            <p:nvPr userDrawn="1"/>
          </p:nvSpPr>
          <p:spPr bwMode="gray">
            <a:xfrm>
              <a:off x="895832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0" name="Rechteck 409">
              <a:extLst>
                <a:ext uri="{FF2B5EF4-FFF2-40B4-BE49-F238E27FC236}">
                  <a16:creationId xmlns:a16="http://schemas.microsoft.com/office/drawing/2014/main" id="{A52E1848-0E5A-9D78-25E0-DA3FACDA7CF7}"/>
                </a:ext>
              </a:extLst>
            </p:cNvPr>
            <p:cNvSpPr/>
            <p:nvPr userDrawn="1"/>
          </p:nvSpPr>
          <p:spPr bwMode="gray">
            <a:xfrm>
              <a:off x="838225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1" name="Rechteck 410">
              <a:extLst>
                <a:ext uri="{FF2B5EF4-FFF2-40B4-BE49-F238E27FC236}">
                  <a16:creationId xmlns:a16="http://schemas.microsoft.com/office/drawing/2014/main" id="{B10B3D36-B1B9-E95F-3E7C-96F1D80FE82E}"/>
                </a:ext>
              </a:extLst>
            </p:cNvPr>
            <p:cNvSpPr/>
            <p:nvPr userDrawn="1"/>
          </p:nvSpPr>
          <p:spPr bwMode="gray">
            <a:xfrm>
              <a:off x="780619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2" name="Rechteck 411">
              <a:extLst>
                <a:ext uri="{FF2B5EF4-FFF2-40B4-BE49-F238E27FC236}">
                  <a16:creationId xmlns:a16="http://schemas.microsoft.com/office/drawing/2014/main" id="{F26D824A-39A6-3FDB-BE04-7CC5314001A2}"/>
                </a:ext>
              </a:extLst>
            </p:cNvPr>
            <p:cNvSpPr/>
            <p:nvPr userDrawn="1"/>
          </p:nvSpPr>
          <p:spPr bwMode="gray">
            <a:xfrm>
              <a:off x="723012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3" name="Rechteck 412">
              <a:extLst>
                <a:ext uri="{FF2B5EF4-FFF2-40B4-BE49-F238E27FC236}">
                  <a16:creationId xmlns:a16="http://schemas.microsoft.com/office/drawing/2014/main" id="{458F2A98-6D89-9650-4101-F5C10B7C1D8D}"/>
                </a:ext>
              </a:extLst>
            </p:cNvPr>
            <p:cNvSpPr/>
            <p:nvPr userDrawn="1"/>
          </p:nvSpPr>
          <p:spPr bwMode="gray">
            <a:xfrm>
              <a:off x="665406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4" name="Rechteck 413">
              <a:extLst>
                <a:ext uri="{FF2B5EF4-FFF2-40B4-BE49-F238E27FC236}">
                  <a16:creationId xmlns:a16="http://schemas.microsoft.com/office/drawing/2014/main" id="{BF454603-B4CD-657A-011B-40E91B963531}"/>
                </a:ext>
              </a:extLst>
            </p:cNvPr>
            <p:cNvSpPr/>
            <p:nvPr userDrawn="1"/>
          </p:nvSpPr>
          <p:spPr bwMode="gray">
            <a:xfrm>
              <a:off x="607800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5" name="Rechteck 414">
              <a:extLst>
                <a:ext uri="{FF2B5EF4-FFF2-40B4-BE49-F238E27FC236}">
                  <a16:creationId xmlns:a16="http://schemas.microsoft.com/office/drawing/2014/main" id="{6C93CD96-9F61-4150-B70A-50410BC741B4}"/>
                </a:ext>
              </a:extLst>
            </p:cNvPr>
            <p:cNvSpPr/>
            <p:nvPr userDrawn="1"/>
          </p:nvSpPr>
          <p:spPr bwMode="gray">
            <a:xfrm>
              <a:off x="550193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6" name="Rechteck 415">
              <a:extLst>
                <a:ext uri="{FF2B5EF4-FFF2-40B4-BE49-F238E27FC236}">
                  <a16:creationId xmlns:a16="http://schemas.microsoft.com/office/drawing/2014/main" id="{65234738-C8AE-9F8A-5899-FCC5BA08223B}"/>
                </a:ext>
              </a:extLst>
            </p:cNvPr>
            <p:cNvSpPr/>
            <p:nvPr userDrawn="1"/>
          </p:nvSpPr>
          <p:spPr bwMode="gray">
            <a:xfrm>
              <a:off x="492587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7" name="Rechteck 416">
              <a:extLst>
                <a:ext uri="{FF2B5EF4-FFF2-40B4-BE49-F238E27FC236}">
                  <a16:creationId xmlns:a16="http://schemas.microsoft.com/office/drawing/2014/main" id="{BB4BE4F1-A8D4-B6BE-40DE-C40F4E8DB506}"/>
                </a:ext>
              </a:extLst>
            </p:cNvPr>
            <p:cNvSpPr/>
            <p:nvPr userDrawn="1"/>
          </p:nvSpPr>
          <p:spPr bwMode="gray">
            <a:xfrm>
              <a:off x="434980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8" name="Rechteck 417">
              <a:extLst>
                <a:ext uri="{FF2B5EF4-FFF2-40B4-BE49-F238E27FC236}">
                  <a16:creationId xmlns:a16="http://schemas.microsoft.com/office/drawing/2014/main" id="{BE59DB32-E5F9-F3F9-B535-F6C3D62F6FEE}"/>
                </a:ext>
              </a:extLst>
            </p:cNvPr>
            <p:cNvSpPr/>
            <p:nvPr userDrawn="1"/>
          </p:nvSpPr>
          <p:spPr bwMode="gray">
            <a:xfrm>
              <a:off x="377374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19" name="Rechteck 418">
              <a:extLst>
                <a:ext uri="{FF2B5EF4-FFF2-40B4-BE49-F238E27FC236}">
                  <a16:creationId xmlns:a16="http://schemas.microsoft.com/office/drawing/2014/main" id="{355E0C15-19DA-DB20-C8CC-352EE7D74D5E}"/>
                </a:ext>
              </a:extLst>
            </p:cNvPr>
            <p:cNvSpPr/>
            <p:nvPr userDrawn="1"/>
          </p:nvSpPr>
          <p:spPr bwMode="gray">
            <a:xfrm>
              <a:off x="319768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0" name="Rechteck 419">
              <a:extLst>
                <a:ext uri="{FF2B5EF4-FFF2-40B4-BE49-F238E27FC236}">
                  <a16:creationId xmlns:a16="http://schemas.microsoft.com/office/drawing/2014/main" id="{BCBE50D2-E4C5-A8C3-AD7D-AA2917EBBAD3}"/>
                </a:ext>
              </a:extLst>
            </p:cNvPr>
            <p:cNvSpPr/>
            <p:nvPr userDrawn="1"/>
          </p:nvSpPr>
          <p:spPr bwMode="gray">
            <a:xfrm>
              <a:off x="2621616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1" name="Rechteck 420">
              <a:extLst>
                <a:ext uri="{FF2B5EF4-FFF2-40B4-BE49-F238E27FC236}">
                  <a16:creationId xmlns:a16="http://schemas.microsoft.com/office/drawing/2014/main" id="{8EA6A4A8-C30A-7D98-DA78-B2FD911D667D}"/>
                </a:ext>
              </a:extLst>
            </p:cNvPr>
            <p:cNvSpPr/>
            <p:nvPr userDrawn="1"/>
          </p:nvSpPr>
          <p:spPr bwMode="gray">
            <a:xfrm>
              <a:off x="2045552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2" name="Rechteck 421">
              <a:extLst>
                <a:ext uri="{FF2B5EF4-FFF2-40B4-BE49-F238E27FC236}">
                  <a16:creationId xmlns:a16="http://schemas.microsoft.com/office/drawing/2014/main" id="{C2204EF9-F7AA-4DE5-310A-5DDDD66591F9}"/>
                </a:ext>
              </a:extLst>
            </p:cNvPr>
            <p:cNvSpPr/>
            <p:nvPr userDrawn="1"/>
          </p:nvSpPr>
          <p:spPr bwMode="gray">
            <a:xfrm>
              <a:off x="1469488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3" name="Rechteck 422">
              <a:extLst>
                <a:ext uri="{FF2B5EF4-FFF2-40B4-BE49-F238E27FC236}">
                  <a16:creationId xmlns:a16="http://schemas.microsoft.com/office/drawing/2014/main" id="{1C4B3FA9-A920-84E4-3C45-09856B26868C}"/>
                </a:ext>
              </a:extLst>
            </p:cNvPr>
            <p:cNvSpPr/>
            <p:nvPr userDrawn="1"/>
          </p:nvSpPr>
          <p:spPr bwMode="gray">
            <a:xfrm>
              <a:off x="893424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4" name="Rechteck 423">
              <a:extLst>
                <a:ext uri="{FF2B5EF4-FFF2-40B4-BE49-F238E27FC236}">
                  <a16:creationId xmlns:a16="http://schemas.microsoft.com/office/drawing/2014/main" id="{B3B85DD2-476A-0B95-5EB1-8F312DA44622}"/>
                </a:ext>
              </a:extLst>
            </p:cNvPr>
            <p:cNvSpPr/>
            <p:nvPr userDrawn="1"/>
          </p:nvSpPr>
          <p:spPr bwMode="gray">
            <a:xfrm>
              <a:off x="31736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5" name="Rechteck 424">
              <a:extLst>
                <a:ext uri="{FF2B5EF4-FFF2-40B4-BE49-F238E27FC236}">
                  <a16:creationId xmlns:a16="http://schemas.microsoft.com/office/drawing/2014/main" id="{99D6B96F-8374-F9F1-59A5-98EBA3EE25CD}"/>
                </a:ext>
              </a:extLst>
            </p:cNvPr>
            <p:cNvSpPr/>
            <p:nvPr userDrawn="1"/>
          </p:nvSpPr>
          <p:spPr bwMode="gray">
            <a:xfrm>
              <a:off x="1126257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6" name="Rechteck 425">
              <a:extLst>
                <a:ext uri="{FF2B5EF4-FFF2-40B4-BE49-F238E27FC236}">
                  <a16:creationId xmlns:a16="http://schemas.microsoft.com/office/drawing/2014/main" id="{DC823EE3-BADD-6F95-5CE8-BED7CBAE080A}"/>
                </a:ext>
              </a:extLst>
            </p:cNvPr>
            <p:cNvSpPr/>
            <p:nvPr userDrawn="1"/>
          </p:nvSpPr>
          <p:spPr bwMode="gray">
            <a:xfrm>
              <a:off x="1068651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7" name="Rechteck 426">
              <a:extLst>
                <a:ext uri="{FF2B5EF4-FFF2-40B4-BE49-F238E27FC236}">
                  <a16:creationId xmlns:a16="http://schemas.microsoft.com/office/drawing/2014/main" id="{8E865B11-168E-A455-145C-1B34043240D2}"/>
                </a:ext>
              </a:extLst>
            </p:cNvPr>
            <p:cNvSpPr/>
            <p:nvPr userDrawn="1"/>
          </p:nvSpPr>
          <p:spPr bwMode="gray">
            <a:xfrm>
              <a:off x="1011044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8" name="Rechteck 427">
              <a:extLst>
                <a:ext uri="{FF2B5EF4-FFF2-40B4-BE49-F238E27FC236}">
                  <a16:creationId xmlns:a16="http://schemas.microsoft.com/office/drawing/2014/main" id="{89E05B10-BD1F-958E-9026-B892E687B974}"/>
                </a:ext>
              </a:extLst>
            </p:cNvPr>
            <p:cNvSpPr/>
            <p:nvPr userDrawn="1"/>
          </p:nvSpPr>
          <p:spPr bwMode="gray">
            <a:xfrm>
              <a:off x="953438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29" name="Rechteck 428">
              <a:extLst>
                <a:ext uri="{FF2B5EF4-FFF2-40B4-BE49-F238E27FC236}">
                  <a16:creationId xmlns:a16="http://schemas.microsoft.com/office/drawing/2014/main" id="{421D8672-B7B6-B216-D75B-D7B1D4F1108E}"/>
                </a:ext>
              </a:extLst>
            </p:cNvPr>
            <p:cNvSpPr/>
            <p:nvPr userDrawn="1"/>
          </p:nvSpPr>
          <p:spPr bwMode="gray">
            <a:xfrm>
              <a:off x="895832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0" name="Rechteck 429">
              <a:extLst>
                <a:ext uri="{FF2B5EF4-FFF2-40B4-BE49-F238E27FC236}">
                  <a16:creationId xmlns:a16="http://schemas.microsoft.com/office/drawing/2014/main" id="{2A3F3D9E-1B89-48BA-EBBF-A97D6C8DBCCF}"/>
                </a:ext>
              </a:extLst>
            </p:cNvPr>
            <p:cNvSpPr/>
            <p:nvPr userDrawn="1"/>
          </p:nvSpPr>
          <p:spPr bwMode="gray">
            <a:xfrm>
              <a:off x="838225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1" name="Rechteck 430">
              <a:extLst>
                <a:ext uri="{FF2B5EF4-FFF2-40B4-BE49-F238E27FC236}">
                  <a16:creationId xmlns:a16="http://schemas.microsoft.com/office/drawing/2014/main" id="{2E1007CB-9535-DA31-9048-F7F0B0FDC68E}"/>
                </a:ext>
              </a:extLst>
            </p:cNvPr>
            <p:cNvSpPr/>
            <p:nvPr userDrawn="1"/>
          </p:nvSpPr>
          <p:spPr bwMode="gray">
            <a:xfrm>
              <a:off x="780619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2" name="Rechteck 431">
              <a:extLst>
                <a:ext uri="{FF2B5EF4-FFF2-40B4-BE49-F238E27FC236}">
                  <a16:creationId xmlns:a16="http://schemas.microsoft.com/office/drawing/2014/main" id="{1C2CB0FC-98AB-16FA-5D3E-77E640C3E6CC}"/>
                </a:ext>
              </a:extLst>
            </p:cNvPr>
            <p:cNvSpPr/>
            <p:nvPr userDrawn="1"/>
          </p:nvSpPr>
          <p:spPr bwMode="gray">
            <a:xfrm>
              <a:off x="723012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3" name="Rechteck 432">
              <a:extLst>
                <a:ext uri="{FF2B5EF4-FFF2-40B4-BE49-F238E27FC236}">
                  <a16:creationId xmlns:a16="http://schemas.microsoft.com/office/drawing/2014/main" id="{CB1E9931-CDB9-84CA-B1B4-35911570F87B}"/>
                </a:ext>
              </a:extLst>
            </p:cNvPr>
            <p:cNvSpPr/>
            <p:nvPr userDrawn="1"/>
          </p:nvSpPr>
          <p:spPr bwMode="gray">
            <a:xfrm>
              <a:off x="665406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4" name="Rechteck 433">
              <a:extLst>
                <a:ext uri="{FF2B5EF4-FFF2-40B4-BE49-F238E27FC236}">
                  <a16:creationId xmlns:a16="http://schemas.microsoft.com/office/drawing/2014/main" id="{CB5B5FF5-5E89-16CE-AC9D-E1703C1962A0}"/>
                </a:ext>
              </a:extLst>
            </p:cNvPr>
            <p:cNvSpPr/>
            <p:nvPr userDrawn="1"/>
          </p:nvSpPr>
          <p:spPr bwMode="gray">
            <a:xfrm>
              <a:off x="607800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5" name="Rechteck 434">
              <a:extLst>
                <a:ext uri="{FF2B5EF4-FFF2-40B4-BE49-F238E27FC236}">
                  <a16:creationId xmlns:a16="http://schemas.microsoft.com/office/drawing/2014/main" id="{F8773E70-31F7-A1F0-7ABF-5E584B1BF675}"/>
                </a:ext>
              </a:extLst>
            </p:cNvPr>
            <p:cNvSpPr/>
            <p:nvPr userDrawn="1"/>
          </p:nvSpPr>
          <p:spPr bwMode="gray">
            <a:xfrm>
              <a:off x="550193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6" name="Rechteck 435">
              <a:extLst>
                <a:ext uri="{FF2B5EF4-FFF2-40B4-BE49-F238E27FC236}">
                  <a16:creationId xmlns:a16="http://schemas.microsoft.com/office/drawing/2014/main" id="{4F17D763-580C-FBD5-4238-30C626721A51}"/>
                </a:ext>
              </a:extLst>
            </p:cNvPr>
            <p:cNvSpPr/>
            <p:nvPr userDrawn="1"/>
          </p:nvSpPr>
          <p:spPr bwMode="gray">
            <a:xfrm>
              <a:off x="492587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7" name="Rechteck 436">
              <a:extLst>
                <a:ext uri="{FF2B5EF4-FFF2-40B4-BE49-F238E27FC236}">
                  <a16:creationId xmlns:a16="http://schemas.microsoft.com/office/drawing/2014/main" id="{FB8E908F-D62F-BEBA-FA1B-A4CA919B0FEC}"/>
                </a:ext>
              </a:extLst>
            </p:cNvPr>
            <p:cNvSpPr/>
            <p:nvPr userDrawn="1"/>
          </p:nvSpPr>
          <p:spPr bwMode="gray">
            <a:xfrm>
              <a:off x="434980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8" name="Rechteck 437">
              <a:extLst>
                <a:ext uri="{FF2B5EF4-FFF2-40B4-BE49-F238E27FC236}">
                  <a16:creationId xmlns:a16="http://schemas.microsoft.com/office/drawing/2014/main" id="{1D7B2149-7D87-4846-43FB-12D17A3939A1}"/>
                </a:ext>
              </a:extLst>
            </p:cNvPr>
            <p:cNvSpPr/>
            <p:nvPr userDrawn="1"/>
          </p:nvSpPr>
          <p:spPr bwMode="gray">
            <a:xfrm>
              <a:off x="377374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39" name="Rechteck 438">
              <a:extLst>
                <a:ext uri="{FF2B5EF4-FFF2-40B4-BE49-F238E27FC236}">
                  <a16:creationId xmlns:a16="http://schemas.microsoft.com/office/drawing/2014/main" id="{64B367DA-ECBE-3D6F-7892-969A91F31717}"/>
                </a:ext>
              </a:extLst>
            </p:cNvPr>
            <p:cNvSpPr/>
            <p:nvPr userDrawn="1"/>
          </p:nvSpPr>
          <p:spPr bwMode="gray">
            <a:xfrm>
              <a:off x="319768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0" name="Rechteck 439">
              <a:extLst>
                <a:ext uri="{FF2B5EF4-FFF2-40B4-BE49-F238E27FC236}">
                  <a16:creationId xmlns:a16="http://schemas.microsoft.com/office/drawing/2014/main" id="{AFD1E34E-B48A-65B8-0AE2-7C72215CB250}"/>
                </a:ext>
              </a:extLst>
            </p:cNvPr>
            <p:cNvSpPr/>
            <p:nvPr userDrawn="1"/>
          </p:nvSpPr>
          <p:spPr bwMode="gray">
            <a:xfrm>
              <a:off x="2621616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1" name="Rechteck 440">
              <a:extLst>
                <a:ext uri="{FF2B5EF4-FFF2-40B4-BE49-F238E27FC236}">
                  <a16:creationId xmlns:a16="http://schemas.microsoft.com/office/drawing/2014/main" id="{17D87CBC-0CEB-E217-010B-1DA03C1F7E72}"/>
                </a:ext>
              </a:extLst>
            </p:cNvPr>
            <p:cNvSpPr/>
            <p:nvPr userDrawn="1"/>
          </p:nvSpPr>
          <p:spPr bwMode="gray">
            <a:xfrm>
              <a:off x="2045552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2" name="Rechteck 441">
              <a:extLst>
                <a:ext uri="{FF2B5EF4-FFF2-40B4-BE49-F238E27FC236}">
                  <a16:creationId xmlns:a16="http://schemas.microsoft.com/office/drawing/2014/main" id="{4C507037-1A43-6753-3448-B6412FB9525A}"/>
                </a:ext>
              </a:extLst>
            </p:cNvPr>
            <p:cNvSpPr/>
            <p:nvPr userDrawn="1"/>
          </p:nvSpPr>
          <p:spPr bwMode="gray">
            <a:xfrm>
              <a:off x="1469488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3" name="Rechteck 442">
              <a:extLst>
                <a:ext uri="{FF2B5EF4-FFF2-40B4-BE49-F238E27FC236}">
                  <a16:creationId xmlns:a16="http://schemas.microsoft.com/office/drawing/2014/main" id="{B9EA4EF1-8270-A8F6-0B39-F4EE8985D611}"/>
                </a:ext>
              </a:extLst>
            </p:cNvPr>
            <p:cNvSpPr/>
            <p:nvPr userDrawn="1"/>
          </p:nvSpPr>
          <p:spPr bwMode="gray">
            <a:xfrm>
              <a:off x="893424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4" name="Rechteck 443">
              <a:extLst>
                <a:ext uri="{FF2B5EF4-FFF2-40B4-BE49-F238E27FC236}">
                  <a16:creationId xmlns:a16="http://schemas.microsoft.com/office/drawing/2014/main" id="{22D17A1C-D4E6-F63F-C632-5F02FCDBEC98}"/>
                </a:ext>
              </a:extLst>
            </p:cNvPr>
            <p:cNvSpPr/>
            <p:nvPr userDrawn="1"/>
          </p:nvSpPr>
          <p:spPr bwMode="gray">
            <a:xfrm>
              <a:off x="31736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5" name="Rechteck 444">
              <a:extLst>
                <a:ext uri="{FF2B5EF4-FFF2-40B4-BE49-F238E27FC236}">
                  <a16:creationId xmlns:a16="http://schemas.microsoft.com/office/drawing/2014/main" id="{2DE08B39-3441-2D61-6C4C-A404444E0C54}"/>
                </a:ext>
              </a:extLst>
            </p:cNvPr>
            <p:cNvSpPr/>
            <p:nvPr userDrawn="1"/>
          </p:nvSpPr>
          <p:spPr bwMode="gray">
            <a:xfrm>
              <a:off x="1126257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6" name="Rechteck 445">
              <a:extLst>
                <a:ext uri="{FF2B5EF4-FFF2-40B4-BE49-F238E27FC236}">
                  <a16:creationId xmlns:a16="http://schemas.microsoft.com/office/drawing/2014/main" id="{9FC815D8-F3D6-67E1-3471-CD84245D5289}"/>
                </a:ext>
              </a:extLst>
            </p:cNvPr>
            <p:cNvSpPr/>
            <p:nvPr userDrawn="1"/>
          </p:nvSpPr>
          <p:spPr bwMode="gray">
            <a:xfrm>
              <a:off x="1068651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7" name="Rechteck 446">
              <a:extLst>
                <a:ext uri="{FF2B5EF4-FFF2-40B4-BE49-F238E27FC236}">
                  <a16:creationId xmlns:a16="http://schemas.microsoft.com/office/drawing/2014/main" id="{1999CB14-F9AE-0996-DE85-D56C83440B52}"/>
                </a:ext>
              </a:extLst>
            </p:cNvPr>
            <p:cNvSpPr/>
            <p:nvPr userDrawn="1"/>
          </p:nvSpPr>
          <p:spPr bwMode="gray">
            <a:xfrm>
              <a:off x="1011044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8" name="Rechteck 447">
              <a:extLst>
                <a:ext uri="{FF2B5EF4-FFF2-40B4-BE49-F238E27FC236}">
                  <a16:creationId xmlns:a16="http://schemas.microsoft.com/office/drawing/2014/main" id="{6C56F053-84BA-5783-8B6F-D75048C78A9A}"/>
                </a:ext>
              </a:extLst>
            </p:cNvPr>
            <p:cNvSpPr/>
            <p:nvPr userDrawn="1"/>
          </p:nvSpPr>
          <p:spPr bwMode="gray">
            <a:xfrm>
              <a:off x="953438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49" name="Rechteck 448">
              <a:extLst>
                <a:ext uri="{FF2B5EF4-FFF2-40B4-BE49-F238E27FC236}">
                  <a16:creationId xmlns:a16="http://schemas.microsoft.com/office/drawing/2014/main" id="{75B65E3E-9571-5056-1DA6-1E89022106C8}"/>
                </a:ext>
              </a:extLst>
            </p:cNvPr>
            <p:cNvSpPr/>
            <p:nvPr userDrawn="1"/>
          </p:nvSpPr>
          <p:spPr bwMode="gray">
            <a:xfrm>
              <a:off x="895832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0" name="Rechteck 449">
              <a:extLst>
                <a:ext uri="{FF2B5EF4-FFF2-40B4-BE49-F238E27FC236}">
                  <a16:creationId xmlns:a16="http://schemas.microsoft.com/office/drawing/2014/main" id="{7C1B3581-10C1-31C0-555F-9C1DA3F4D22E}"/>
                </a:ext>
              </a:extLst>
            </p:cNvPr>
            <p:cNvSpPr/>
            <p:nvPr userDrawn="1"/>
          </p:nvSpPr>
          <p:spPr bwMode="gray">
            <a:xfrm>
              <a:off x="838225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1" name="Rechteck 450">
              <a:extLst>
                <a:ext uri="{FF2B5EF4-FFF2-40B4-BE49-F238E27FC236}">
                  <a16:creationId xmlns:a16="http://schemas.microsoft.com/office/drawing/2014/main" id="{48F56C21-4088-377F-6E6F-4414C408DB56}"/>
                </a:ext>
              </a:extLst>
            </p:cNvPr>
            <p:cNvSpPr/>
            <p:nvPr userDrawn="1"/>
          </p:nvSpPr>
          <p:spPr bwMode="gray">
            <a:xfrm>
              <a:off x="780619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2" name="Rechteck 451">
              <a:extLst>
                <a:ext uri="{FF2B5EF4-FFF2-40B4-BE49-F238E27FC236}">
                  <a16:creationId xmlns:a16="http://schemas.microsoft.com/office/drawing/2014/main" id="{9D2EB8FA-D581-5FCC-6E80-6C9CE48D4A7F}"/>
                </a:ext>
              </a:extLst>
            </p:cNvPr>
            <p:cNvSpPr/>
            <p:nvPr userDrawn="1"/>
          </p:nvSpPr>
          <p:spPr bwMode="gray">
            <a:xfrm>
              <a:off x="723012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3" name="Rechteck 452">
              <a:extLst>
                <a:ext uri="{FF2B5EF4-FFF2-40B4-BE49-F238E27FC236}">
                  <a16:creationId xmlns:a16="http://schemas.microsoft.com/office/drawing/2014/main" id="{62320D29-C890-3F79-C1CA-709FC0D2198A}"/>
                </a:ext>
              </a:extLst>
            </p:cNvPr>
            <p:cNvSpPr/>
            <p:nvPr userDrawn="1"/>
          </p:nvSpPr>
          <p:spPr bwMode="gray">
            <a:xfrm>
              <a:off x="665406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4" name="Rechteck 453">
              <a:extLst>
                <a:ext uri="{FF2B5EF4-FFF2-40B4-BE49-F238E27FC236}">
                  <a16:creationId xmlns:a16="http://schemas.microsoft.com/office/drawing/2014/main" id="{18BD8EB4-8623-29C1-915A-3D2A50C0F9E8}"/>
                </a:ext>
              </a:extLst>
            </p:cNvPr>
            <p:cNvSpPr/>
            <p:nvPr userDrawn="1"/>
          </p:nvSpPr>
          <p:spPr bwMode="gray">
            <a:xfrm>
              <a:off x="607800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5" name="Rechteck 454">
              <a:extLst>
                <a:ext uri="{FF2B5EF4-FFF2-40B4-BE49-F238E27FC236}">
                  <a16:creationId xmlns:a16="http://schemas.microsoft.com/office/drawing/2014/main" id="{A39DFE0C-656A-DE80-C145-471906FEB86E}"/>
                </a:ext>
              </a:extLst>
            </p:cNvPr>
            <p:cNvSpPr/>
            <p:nvPr userDrawn="1"/>
          </p:nvSpPr>
          <p:spPr bwMode="gray">
            <a:xfrm>
              <a:off x="550193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6" name="Rechteck 455">
              <a:extLst>
                <a:ext uri="{FF2B5EF4-FFF2-40B4-BE49-F238E27FC236}">
                  <a16:creationId xmlns:a16="http://schemas.microsoft.com/office/drawing/2014/main" id="{76B56F8E-3075-318C-87D7-415D9575A13C}"/>
                </a:ext>
              </a:extLst>
            </p:cNvPr>
            <p:cNvSpPr/>
            <p:nvPr userDrawn="1"/>
          </p:nvSpPr>
          <p:spPr bwMode="gray">
            <a:xfrm>
              <a:off x="492587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457" name="Rechteck 456">
              <a:extLst>
                <a:ext uri="{FF2B5EF4-FFF2-40B4-BE49-F238E27FC236}">
                  <a16:creationId xmlns:a16="http://schemas.microsoft.com/office/drawing/2014/main" id="{7099021B-6ADC-73B8-3A29-669E22AB4399}"/>
                </a:ext>
              </a:extLst>
            </p:cNvPr>
            <p:cNvSpPr/>
            <p:nvPr userDrawn="1"/>
          </p:nvSpPr>
          <p:spPr bwMode="gray">
            <a:xfrm>
              <a:off x="434980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4" name="Rechteck 643">
              <a:extLst>
                <a:ext uri="{FF2B5EF4-FFF2-40B4-BE49-F238E27FC236}">
                  <a16:creationId xmlns:a16="http://schemas.microsoft.com/office/drawing/2014/main" id="{8E8FE5D4-0EB7-96E1-08E7-4F1B16EBB33A}"/>
                </a:ext>
              </a:extLst>
            </p:cNvPr>
            <p:cNvSpPr/>
            <p:nvPr userDrawn="1"/>
          </p:nvSpPr>
          <p:spPr bwMode="gray">
            <a:xfrm>
              <a:off x="377374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5" name="Rechteck 644">
              <a:extLst>
                <a:ext uri="{FF2B5EF4-FFF2-40B4-BE49-F238E27FC236}">
                  <a16:creationId xmlns:a16="http://schemas.microsoft.com/office/drawing/2014/main" id="{A60C5B67-358E-14EE-4FA7-480517FBAFB4}"/>
                </a:ext>
              </a:extLst>
            </p:cNvPr>
            <p:cNvSpPr/>
            <p:nvPr userDrawn="1"/>
          </p:nvSpPr>
          <p:spPr bwMode="gray">
            <a:xfrm>
              <a:off x="319768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6" name="Rechteck 645">
              <a:extLst>
                <a:ext uri="{FF2B5EF4-FFF2-40B4-BE49-F238E27FC236}">
                  <a16:creationId xmlns:a16="http://schemas.microsoft.com/office/drawing/2014/main" id="{B4A09DC8-0CE6-36BD-D875-B005F3971926}"/>
                </a:ext>
              </a:extLst>
            </p:cNvPr>
            <p:cNvSpPr/>
            <p:nvPr userDrawn="1"/>
          </p:nvSpPr>
          <p:spPr bwMode="gray">
            <a:xfrm>
              <a:off x="2621616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7" name="Rechteck 646">
              <a:extLst>
                <a:ext uri="{FF2B5EF4-FFF2-40B4-BE49-F238E27FC236}">
                  <a16:creationId xmlns:a16="http://schemas.microsoft.com/office/drawing/2014/main" id="{7EDC3ED9-4D94-DC05-1A13-CF21EDC1E64C}"/>
                </a:ext>
              </a:extLst>
            </p:cNvPr>
            <p:cNvSpPr/>
            <p:nvPr userDrawn="1"/>
          </p:nvSpPr>
          <p:spPr bwMode="gray">
            <a:xfrm>
              <a:off x="2045552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8" name="Rechteck 647">
              <a:extLst>
                <a:ext uri="{FF2B5EF4-FFF2-40B4-BE49-F238E27FC236}">
                  <a16:creationId xmlns:a16="http://schemas.microsoft.com/office/drawing/2014/main" id="{7ABECC60-99A1-3A8E-B432-9C5C426070BF}"/>
                </a:ext>
              </a:extLst>
            </p:cNvPr>
            <p:cNvSpPr/>
            <p:nvPr userDrawn="1"/>
          </p:nvSpPr>
          <p:spPr bwMode="gray">
            <a:xfrm>
              <a:off x="1469488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49" name="Rechteck 648">
              <a:extLst>
                <a:ext uri="{FF2B5EF4-FFF2-40B4-BE49-F238E27FC236}">
                  <a16:creationId xmlns:a16="http://schemas.microsoft.com/office/drawing/2014/main" id="{B3A842FC-8CE9-85E9-6603-1CC4F2D1B7A0}"/>
                </a:ext>
              </a:extLst>
            </p:cNvPr>
            <p:cNvSpPr/>
            <p:nvPr userDrawn="1"/>
          </p:nvSpPr>
          <p:spPr bwMode="gray">
            <a:xfrm>
              <a:off x="893424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0" name="Rechteck 649">
              <a:extLst>
                <a:ext uri="{FF2B5EF4-FFF2-40B4-BE49-F238E27FC236}">
                  <a16:creationId xmlns:a16="http://schemas.microsoft.com/office/drawing/2014/main" id="{DA7B7322-E2AF-381E-3EBE-F9C20D63FF58}"/>
                </a:ext>
              </a:extLst>
            </p:cNvPr>
            <p:cNvSpPr/>
            <p:nvPr userDrawn="1"/>
          </p:nvSpPr>
          <p:spPr bwMode="gray">
            <a:xfrm>
              <a:off x="31736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1" name="Rechteck 650">
              <a:extLst>
                <a:ext uri="{FF2B5EF4-FFF2-40B4-BE49-F238E27FC236}">
                  <a16:creationId xmlns:a16="http://schemas.microsoft.com/office/drawing/2014/main" id="{EC1F45C1-1677-0917-B365-708531B72AA6}"/>
                </a:ext>
              </a:extLst>
            </p:cNvPr>
            <p:cNvSpPr/>
            <p:nvPr userDrawn="1"/>
          </p:nvSpPr>
          <p:spPr bwMode="gray">
            <a:xfrm>
              <a:off x="1126257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2" name="Rechteck 651">
              <a:extLst>
                <a:ext uri="{FF2B5EF4-FFF2-40B4-BE49-F238E27FC236}">
                  <a16:creationId xmlns:a16="http://schemas.microsoft.com/office/drawing/2014/main" id="{50A4A50F-31EC-FBCF-9140-5DBDB846C553}"/>
                </a:ext>
              </a:extLst>
            </p:cNvPr>
            <p:cNvSpPr/>
            <p:nvPr userDrawn="1"/>
          </p:nvSpPr>
          <p:spPr bwMode="gray">
            <a:xfrm>
              <a:off x="1068651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3" name="Rechteck 652">
              <a:extLst>
                <a:ext uri="{FF2B5EF4-FFF2-40B4-BE49-F238E27FC236}">
                  <a16:creationId xmlns:a16="http://schemas.microsoft.com/office/drawing/2014/main" id="{84C76EFD-3633-98AA-A442-2D8C5AB6FCFD}"/>
                </a:ext>
              </a:extLst>
            </p:cNvPr>
            <p:cNvSpPr/>
            <p:nvPr userDrawn="1"/>
          </p:nvSpPr>
          <p:spPr bwMode="gray">
            <a:xfrm>
              <a:off x="1011044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4" name="Rechteck 653">
              <a:extLst>
                <a:ext uri="{FF2B5EF4-FFF2-40B4-BE49-F238E27FC236}">
                  <a16:creationId xmlns:a16="http://schemas.microsoft.com/office/drawing/2014/main" id="{5DE99BB2-D190-A188-CF7B-DE8887FCAFFA}"/>
                </a:ext>
              </a:extLst>
            </p:cNvPr>
            <p:cNvSpPr/>
            <p:nvPr userDrawn="1"/>
          </p:nvSpPr>
          <p:spPr bwMode="gray">
            <a:xfrm>
              <a:off x="953438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5" name="Rechteck 654">
              <a:extLst>
                <a:ext uri="{FF2B5EF4-FFF2-40B4-BE49-F238E27FC236}">
                  <a16:creationId xmlns:a16="http://schemas.microsoft.com/office/drawing/2014/main" id="{5779E240-142B-5A3B-D29F-762991079402}"/>
                </a:ext>
              </a:extLst>
            </p:cNvPr>
            <p:cNvSpPr/>
            <p:nvPr userDrawn="1"/>
          </p:nvSpPr>
          <p:spPr bwMode="gray">
            <a:xfrm>
              <a:off x="895832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6" name="Rechteck 655">
              <a:extLst>
                <a:ext uri="{FF2B5EF4-FFF2-40B4-BE49-F238E27FC236}">
                  <a16:creationId xmlns:a16="http://schemas.microsoft.com/office/drawing/2014/main" id="{7DF3EF50-64C3-0521-419E-0A34DE091838}"/>
                </a:ext>
              </a:extLst>
            </p:cNvPr>
            <p:cNvSpPr/>
            <p:nvPr userDrawn="1"/>
          </p:nvSpPr>
          <p:spPr bwMode="gray">
            <a:xfrm>
              <a:off x="838225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7" name="Rechteck 656">
              <a:extLst>
                <a:ext uri="{FF2B5EF4-FFF2-40B4-BE49-F238E27FC236}">
                  <a16:creationId xmlns:a16="http://schemas.microsoft.com/office/drawing/2014/main" id="{B0D7530B-72EC-D3B4-90E2-2D6E1B271C7A}"/>
                </a:ext>
              </a:extLst>
            </p:cNvPr>
            <p:cNvSpPr/>
            <p:nvPr userDrawn="1"/>
          </p:nvSpPr>
          <p:spPr bwMode="gray">
            <a:xfrm>
              <a:off x="780619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8" name="Rechteck 657">
              <a:extLst>
                <a:ext uri="{FF2B5EF4-FFF2-40B4-BE49-F238E27FC236}">
                  <a16:creationId xmlns:a16="http://schemas.microsoft.com/office/drawing/2014/main" id="{80E6E29A-5D6B-0C1F-2DC5-C0DB2565B266}"/>
                </a:ext>
              </a:extLst>
            </p:cNvPr>
            <p:cNvSpPr/>
            <p:nvPr userDrawn="1"/>
          </p:nvSpPr>
          <p:spPr bwMode="gray">
            <a:xfrm>
              <a:off x="723012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59" name="Rechteck 658">
              <a:extLst>
                <a:ext uri="{FF2B5EF4-FFF2-40B4-BE49-F238E27FC236}">
                  <a16:creationId xmlns:a16="http://schemas.microsoft.com/office/drawing/2014/main" id="{6253B98A-C2FC-F7AC-D28E-FDDEBDF1C5B5}"/>
                </a:ext>
              </a:extLst>
            </p:cNvPr>
            <p:cNvSpPr/>
            <p:nvPr userDrawn="1"/>
          </p:nvSpPr>
          <p:spPr bwMode="gray">
            <a:xfrm>
              <a:off x="665406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0" name="Rechteck 659">
              <a:extLst>
                <a:ext uri="{FF2B5EF4-FFF2-40B4-BE49-F238E27FC236}">
                  <a16:creationId xmlns:a16="http://schemas.microsoft.com/office/drawing/2014/main" id="{9984C8AB-B7F7-76AA-D39C-D02FD0EC7A32}"/>
                </a:ext>
              </a:extLst>
            </p:cNvPr>
            <p:cNvSpPr/>
            <p:nvPr userDrawn="1"/>
          </p:nvSpPr>
          <p:spPr bwMode="gray">
            <a:xfrm>
              <a:off x="607800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1" name="Rechteck 660">
              <a:extLst>
                <a:ext uri="{FF2B5EF4-FFF2-40B4-BE49-F238E27FC236}">
                  <a16:creationId xmlns:a16="http://schemas.microsoft.com/office/drawing/2014/main" id="{6A058027-50E5-A9B4-1BF2-5060149E18DC}"/>
                </a:ext>
              </a:extLst>
            </p:cNvPr>
            <p:cNvSpPr/>
            <p:nvPr userDrawn="1"/>
          </p:nvSpPr>
          <p:spPr bwMode="gray">
            <a:xfrm>
              <a:off x="550193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2" name="Rechteck 661">
              <a:extLst>
                <a:ext uri="{FF2B5EF4-FFF2-40B4-BE49-F238E27FC236}">
                  <a16:creationId xmlns:a16="http://schemas.microsoft.com/office/drawing/2014/main" id="{98FBD54A-F54C-29E1-5108-09E00A4269B9}"/>
                </a:ext>
              </a:extLst>
            </p:cNvPr>
            <p:cNvSpPr/>
            <p:nvPr userDrawn="1"/>
          </p:nvSpPr>
          <p:spPr bwMode="gray">
            <a:xfrm>
              <a:off x="492587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3" name="Rechteck 662">
              <a:extLst>
                <a:ext uri="{FF2B5EF4-FFF2-40B4-BE49-F238E27FC236}">
                  <a16:creationId xmlns:a16="http://schemas.microsoft.com/office/drawing/2014/main" id="{6EDAAAE1-AA61-1362-CECC-3D5EE27A32FC}"/>
                </a:ext>
              </a:extLst>
            </p:cNvPr>
            <p:cNvSpPr/>
            <p:nvPr userDrawn="1"/>
          </p:nvSpPr>
          <p:spPr bwMode="gray">
            <a:xfrm>
              <a:off x="434980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4" name="Rechteck 663">
              <a:extLst>
                <a:ext uri="{FF2B5EF4-FFF2-40B4-BE49-F238E27FC236}">
                  <a16:creationId xmlns:a16="http://schemas.microsoft.com/office/drawing/2014/main" id="{9A096197-71CE-0844-41D0-A46DC238ACC0}"/>
                </a:ext>
              </a:extLst>
            </p:cNvPr>
            <p:cNvSpPr/>
            <p:nvPr userDrawn="1"/>
          </p:nvSpPr>
          <p:spPr bwMode="gray">
            <a:xfrm>
              <a:off x="377374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5" name="Rechteck 664">
              <a:extLst>
                <a:ext uri="{FF2B5EF4-FFF2-40B4-BE49-F238E27FC236}">
                  <a16:creationId xmlns:a16="http://schemas.microsoft.com/office/drawing/2014/main" id="{9BAC1024-A3AA-DA30-6638-91CB96C75E2D}"/>
                </a:ext>
              </a:extLst>
            </p:cNvPr>
            <p:cNvSpPr/>
            <p:nvPr userDrawn="1"/>
          </p:nvSpPr>
          <p:spPr bwMode="gray">
            <a:xfrm>
              <a:off x="319768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6" name="Rechteck 665">
              <a:extLst>
                <a:ext uri="{FF2B5EF4-FFF2-40B4-BE49-F238E27FC236}">
                  <a16:creationId xmlns:a16="http://schemas.microsoft.com/office/drawing/2014/main" id="{27954658-2F67-8A3E-E295-5AE0BB5709CE}"/>
                </a:ext>
              </a:extLst>
            </p:cNvPr>
            <p:cNvSpPr/>
            <p:nvPr userDrawn="1"/>
          </p:nvSpPr>
          <p:spPr bwMode="gray">
            <a:xfrm>
              <a:off x="2621616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7" name="Rechteck 666">
              <a:extLst>
                <a:ext uri="{FF2B5EF4-FFF2-40B4-BE49-F238E27FC236}">
                  <a16:creationId xmlns:a16="http://schemas.microsoft.com/office/drawing/2014/main" id="{46E72F9C-219A-FF20-1A92-D57F35DA0BA0}"/>
                </a:ext>
              </a:extLst>
            </p:cNvPr>
            <p:cNvSpPr/>
            <p:nvPr userDrawn="1"/>
          </p:nvSpPr>
          <p:spPr bwMode="gray">
            <a:xfrm>
              <a:off x="2045552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8" name="Rechteck 667">
              <a:extLst>
                <a:ext uri="{FF2B5EF4-FFF2-40B4-BE49-F238E27FC236}">
                  <a16:creationId xmlns:a16="http://schemas.microsoft.com/office/drawing/2014/main" id="{B1F0B7B2-9256-4FB1-ECCB-3D5CD7439428}"/>
                </a:ext>
              </a:extLst>
            </p:cNvPr>
            <p:cNvSpPr/>
            <p:nvPr userDrawn="1"/>
          </p:nvSpPr>
          <p:spPr bwMode="gray">
            <a:xfrm>
              <a:off x="1469488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69" name="Rechteck 668">
              <a:extLst>
                <a:ext uri="{FF2B5EF4-FFF2-40B4-BE49-F238E27FC236}">
                  <a16:creationId xmlns:a16="http://schemas.microsoft.com/office/drawing/2014/main" id="{F424F12F-F7D7-E4F7-D296-F1E66F512AE0}"/>
                </a:ext>
              </a:extLst>
            </p:cNvPr>
            <p:cNvSpPr/>
            <p:nvPr userDrawn="1"/>
          </p:nvSpPr>
          <p:spPr bwMode="gray">
            <a:xfrm>
              <a:off x="893424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0" name="Rechteck 669">
              <a:extLst>
                <a:ext uri="{FF2B5EF4-FFF2-40B4-BE49-F238E27FC236}">
                  <a16:creationId xmlns:a16="http://schemas.microsoft.com/office/drawing/2014/main" id="{8EAA27A1-ABA7-7824-3AAE-E30598AB2124}"/>
                </a:ext>
              </a:extLst>
            </p:cNvPr>
            <p:cNvSpPr/>
            <p:nvPr userDrawn="1"/>
          </p:nvSpPr>
          <p:spPr bwMode="gray">
            <a:xfrm>
              <a:off x="31736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1" name="Rechteck 670">
              <a:extLst>
                <a:ext uri="{FF2B5EF4-FFF2-40B4-BE49-F238E27FC236}">
                  <a16:creationId xmlns:a16="http://schemas.microsoft.com/office/drawing/2014/main" id="{C34E7599-8AF7-4FEC-68B1-3402BDD6D856}"/>
                </a:ext>
              </a:extLst>
            </p:cNvPr>
            <p:cNvSpPr/>
            <p:nvPr userDrawn="1"/>
          </p:nvSpPr>
          <p:spPr bwMode="gray">
            <a:xfrm>
              <a:off x="1126257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2" name="Rechteck 671">
              <a:extLst>
                <a:ext uri="{FF2B5EF4-FFF2-40B4-BE49-F238E27FC236}">
                  <a16:creationId xmlns:a16="http://schemas.microsoft.com/office/drawing/2014/main" id="{B0D2F336-CA2A-2193-1BC7-3C54952CFACF}"/>
                </a:ext>
              </a:extLst>
            </p:cNvPr>
            <p:cNvSpPr/>
            <p:nvPr userDrawn="1"/>
          </p:nvSpPr>
          <p:spPr bwMode="gray">
            <a:xfrm>
              <a:off x="1068651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3" name="Rechteck 672">
              <a:extLst>
                <a:ext uri="{FF2B5EF4-FFF2-40B4-BE49-F238E27FC236}">
                  <a16:creationId xmlns:a16="http://schemas.microsoft.com/office/drawing/2014/main" id="{D073002A-F875-EEDC-4EB6-EF997A284DDA}"/>
                </a:ext>
              </a:extLst>
            </p:cNvPr>
            <p:cNvSpPr/>
            <p:nvPr userDrawn="1"/>
          </p:nvSpPr>
          <p:spPr bwMode="gray">
            <a:xfrm>
              <a:off x="1011044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4" name="Rechteck 673">
              <a:extLst>
                <a:ext uri="{FF2B5EF4-FFF2-40B4-BE49-F238E27FC236}">
                  <a16:creationId xmlns:a16="http://schemas.microsoft.com/office/drawing/2014/main" id="{F8138724-4632-2DB7-FA2D-7F0357DF5720}"/>
                </a:ext>
              </a:extLst>
            </p:cNvPr>
            <p:cNvSpPr/>
            <p:nvPr userDrawn="1"/>
          </p:nvSpPr>
          <p:spPr bwMode="gray">
            <a:xfrm>
              <a:off x="953438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5" name="Rechteck 674">
              <a:extLst>
                <a:ext uri="{FF2B5EF4-FFF2-40B4-BE49-F238E27FC236}">
                  <a16:creationId xmlns:a16="http://schemas.microsoft.com/office/drawing/2014/main" id="{2D2CD9BA-1A94-56DF-8CFA-A97A83254D29}"/>
                </a:ext>
              </a:extLst>
            </p:cNvPr>
            <p:cNvSpPr/>
            <p:nvPr userDrawn="1"/>
          </p:nvSpPr>
          <p:spPr bwMode="gray">
            <a:xfrm>
              <a:off x="895832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6" name="Rechteck 675">
              <a:extLst>
                <a:ext uri="{FF2B5EF4-FFF2-40B4-BE49-F238E27FC236}">
                  <a16:creationId xmlns:a16="http://schemas.microsoft.com/office/drawing/2014/main" id="{7C79B6F2-54E2-3C33-65BC-1875013AD61F}"/>
                </a:ext>
              </a:extLst>
            </p:cNvPr>
            <p:cNvSpPr/>
            <p:nvPr userDrawn="1"/>
          </p:nvSpPr>
          <p:spPr bwMode="gray">
            <a:xfrm>
              <a:off x="838225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7" name="Rechteck 676">
              <a:extLst>
                <a:ext uri="{FF2B5EF4-FFF2-40B4-BE49-F238E27FC236}">
                  <a16:creationId xmlns:a16="http://schemas.microsoft.com/office/drawing/2014/main" id="{65E4504F-B5EF-BDF9-DD5A-DCA3D696CA83}"/>
                </a:ext>
              </a:extLst>
            </p:cNvPr>
            <p:cNvSpPr/>
            <p:nvPr userDrawn="1"/>
          </p:nvSpPr>
          <p:spPr bwMode="gray">
            <a:xfrm>
              <a:off x="780619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8" name="Rechteck 677">
              <a:extLst>
                <a:ext uri="{FF2B5EF4-FFF2-40B4-BE49-F238E27FC236}">
                  <a16:creationId xmlns:a16="http://schemas.microsoft.com/office/drawing/2014/main" id="{3C212384-F966-94CF-A5F3-A9F6605EAA0A}"/>
                </a:ext>
              </a:extLst>
            </p:cNvPr>
            <p:cNvSpPr/>
            <p:nvPr userDrawn="1"/>
          </p:nvSpPr>
          <p:spPr bwMode="gray">
            <a:xfrm>
              <a:off x="723012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79" name="Rechteck 678">
              <a:extLst>
                <a:ext uri="{FF2B5EF4-FFF2-40B4-BE49-F238E27FC236}">
                  <a16:creationId xmlns:a16="http://schemas.microsoft.com/office/drawing/2014/main" id="{ED44795D-30E4-B4C1-87C3-5BA33D5E2238}"/>
                </a:ext>
              </a:extLst>
            </p:cNvPr>
            <p:cNvSpPr/>
            <p:nvPr userDrawn="1"/>
          </p:nvSpPr>
          <p:spPr bwMode="gray">
            <a:xfrm>
              <a:off x="665406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0" name="Rechteck 679">
              <a:extLst>
                <a:ext uri="{FF2B5EF4-FFF2-40B4-BE49-F238E27FC236}">
                  <a16:creationId xmlns:a16="http://schemas.microsoft.com/office/drawing/2014/main" id="{D1EA4F25-7E1D-7C78-685B-4D8DFBFAFD69}"/>
                </a:ext>
              </a:extLst>
            </p:cNvPr>
            <p:cNvSpPr/>
            <p:nvPr userDrawn="1"/>
          </p:nvSpPr>
          <p:spPr bwMode="gray">
            <a:xfrm>
              <a:off x="607800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1" name="Rechteck 680">
              <a:extLst>
                <a:ext uri="{FF2B5EF4-FFF2-40B4-BE49-F238E27FC236}">
                  <a16:creationId xmlns:a16="http://schemas.microsoft.com/office/drawing/2014/main" id="{AF63D508-7642-BD4D-326D-088EB0B5D63A}"/>
                </a:ext>
              </a:extLst>
            </p:cNvPr>
            <p:cNvSpPr/>
            <p:nvPr userDrawn="1"/>
          </p:nvSpPr>
          <p:spPr bwMode="gray">
            <a:xfrm>
              <a:off x="550193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2" name="Rechteck 681">
              <a:extLst>
                <a:ext uri="{FF2B5EF4-FFF2-40B4-BE49-F238E27FC236}">
                  <a16:creationId xmlns:a16="http://schemas.microsoft.com/office/drawing/2014/main" id="{DBFB793B-46CD-B651-4079-42CBF284A3A0}"/>
                </a:ext>
              </a:extLst>
            </p:cNvPr>
            <p:cNvSpPr/>
            <p:nvPr userDrawn="1"/>
          </p:nvSpPr>
          <p:spPr bwMode="gray">
            <a:xfrm>
              <a:off x="492587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3" name="Rechteck 682">
              <a:extLst>
                <a:ext uri="{FF2B5EF4-FFF2-40B4-BE49-F238E27FC236}">
                  <a16:creationId xmlns:a16="http://schemas.microsoft.com/office/drawing/2014/main" id="{676BEC22-B6D2-664A-1C01-EF3150CB903F}"/>
                </a:ext>
              </a:extLst>
            </p:cNvPr>
            <p:cNvSpPr/>
            <p:nvPr userDrawn="1"/>
          </p:nvSpPr>
          <p:spPr bwMode="gray">
            <a:xfrm>
              <a:off x="434980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4" name="Rechteck 683">
              <a:extLst>
                <a:ext uri="{FF2B5EF4-FFF2-40B4-BE49-F238E27FC236}">
                  <a16:creationId xmlns:a16="http://schemas.microsoft.com/office/drawing/2014/main" id="{87E18572-03D5-E300-4A12-2FA2E7D658B8}"/>
                </a:ext>
              </a:extLst>
            </p:cNvPr>
            <p:cNvSpPr/>
            <p:nvPr userDrawn="1"/>
          </p:nvSpPr>
          <p:spPr bwMode="gray">
            <a:xfrm>
              <a:off x="377374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5" name="Rechteck 684">
              <a:extLst>
                <a:ext uri="{FF2B5EF4-FFF2-40B4-BE49-F238E27FC236}">
                  <a16:creationId xmlns:a16="http://schemas.microsoft.com/office/drawing/2014/main" id="{35D72595-8878-87D2-919B-38AD660CFF66}"/>
                </a:ext>
              </a:extLst>
            </p:cNvPr>
            <p:cNvSpPr/>
            <p:nvPr userDrawn="1"/>
          </p:nvSpPr>
          <p:spPr bwMode="gray">
            <a:xfrm>
              <a:off x="319768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6" name="Rechteck 685">
              <a:extLst>
                <a:ext uri="{FF2B5EF4-FFF2-40B4-BE49-F238E27FC236}">
                  <a16:creationId xmlns:a16="http://schemas.microsoft.com/office/drawing/2014/main" id="{D3CAB2D9-997B-12B0-2A5A-91522C3FF170}"/>
                </a:ext>
              </a:extLst>
            </p:cNvPr>
            <p:cNvSpPr/>
            <p:nvPr userDrawn="1"/>
          </p:nvSpPr>
          <p:spPr bwMode="gray">
            <a:xfrm>
              <a:off x="2621616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7" name="Rechteck 686">
              <a:extLst>
                <a:ext uri="{FF2B5EF4-FFF2-40B4-BE49-F238E27FC236}">
                  <a16:creationId xmlns:a16="http://schemas.microsoft.com/office/drawing/2014/main" id="{74E6F77E-5B7C-2E64-6FCA-30A5DC10DE2C}"/>
                </a:ext>
              </a:extLst>
            </p:cNvPr>
            <p:cNvSpPr/>
            <p:nvPr userDrawn="1"/>
          </p:nvSpPr>
          <p:spPr bwMode="gray">
            <a:xfrm>
              <a:off x="2045552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8" name="Rechteck 687">
              <a:extLst>
                <a:ext uri="{FF2B5EF4-FFF2-40B4-BE49-F238E27FC236}">
                  <a16:creationId xmlns:a16="http://schemas.microsoft.com/office/drawing/2014/main" id="{27CC7125-1BAE-6097-CEBC-A02D054FFC09}"/>
                </a:ext>
              </a:extLst>
            </p:cNvPr>
            <p:cNvSpPr/>
            <p:nvPr userDrawn="1"/>
          </p:nvSpPr>
          <p:spPr bwMode="gray">
            <a:xfrm>
              <a:off x="1469488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89" name="Rechteck 688">
              <a:extLst>
                <a:ext uri="{FF2B5EF4-FFF2-40B4-BE49-F238E27FC236}">
                  <a16:creationId xmlns:a16="http://schemas.microsoft.com/office/drawing/2014/main" id="{9D7B5CFB-7258-DAD3-9B10-3E64BB73EF28}"/>
                </a:ext>
              </a:extLst>
            </p:cNvPr>
            <p:cNvSpPr/>
            <p:nvPr userDrawn="1"/>
          </p:nvSpPr>
          <p:spPr bwMode="gray">
            <a:xfrm>
              <a:off x="893424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43787BF0-E845-3E22-C348-E7333B517E23}"/>
                </a:ext>
              </a:extLst>
            </p:cNvPr>
            <p:cNvSpPr/>
            <p:nvPr userDrawn="1"/>
          </p:nvSpPr>
          <p:spPr bwMode="gray">
            <a:xfrm>
              <a:off x="31736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1" name="Rechteck 690">
              <a:extLst>
                <a:ext uri="{FF2B5EF4-FFF2-40B4-BE49-F238E27FC236}">
                  <a16:creationId xmlns:a16="http://schemas.microsoft.com/office/drawing/2014/main" id="{D83F9A5C-556C-5686-A837-8D16AEF9C029}"/>
                </a:ext>
              </a:extLst>
            </p:cNvPr>
            <p:cNvSpPr/>
            <p:nvPr userDrawn="1"/>
          </p:nvSpPr>
          <p:spPr bwMode="gray">
            <a:xfrm>
              <a:off x="1126257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2" name="Rechteck 691">
              <a:extLst>
                <a:ext uri="{FF2B5EF4-FFF2-40B4-BE49-F238E27FC236}">
                  <a16:creationId xmlns:a16="http://schemas.microsoft.com/office/drawing/2014/main" id="{C67B3110-8690-6365-8BE6-FE5AD9D334C8}"/>
                </a:ext>
              </a:extLst>
            </p:cNvPr>
            <p:cNvSpPr/>
            <p:nvPr userDrawn="1"/>
          </p:nvSpPr>
          <p:spPr bwMode="gray">
            <a:xfrm>
              <a:off x="1068651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3" name="Rechteck 692">
              <a:extLst>
                <a:ext uri="{FF2B5EF4-FFF2-40B4-BE49-F238E27FC236}">
                  <a16:creationId xmlns:a16="http://schemas.microsoft.com/office/drawing/2014/main" id="{16371B9B-82E3-36BE-28D4-418C8A3F8723}"/>
                </a:ext>
              </a:extLst>
            </p:cNvPr>
            <p:cNvSpPr/>
            <p:nvPr userDrawn="1"/>
          </p:nvSpPr>
          <p:spPr bwMode="gray">
            <a:xfrm>
              <a:off x="1011044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4" name="Rechteck 693">
              <a:extLst>
                <a:ext uri="{FF2B5EF4-FFF2-40B4-BE49-F238E27FC236}">
                  <a16:creationId xmlns:a16="http://schemas.microsoft.com/office/drawing/2014/main" id="{F46749CC-D382-4700-C143-5E7CFE6DB114}"/>
                </a:ext>
              </a:extLst>
            </p:cNvPr>
            <p:cNvSpPr/>
            <p:nvPr userDrawn="1"/>
          </p:nvSpPr>
          <p:spPr bwMode="gray">
            <a:xfrm>
              <a:off x="953438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5" name="Rechteck 694">
              <a:extLst>
                <a:ext uri="{FF2B5EF4-FFF2-40B4-BE49-F238E27FC236}">
                  <a16:creationId xmlns:a16="http://schemas.microsoft.com/office/drawing/2014/main" id="{FDD07DA5-8965-5A12-2B46-D97986402E1F}"/>
                </a:ext>
              </a:extLst>
            </p:cNvPr>
            <p:cNvSpPr/>
            <p:nvPr userDrawn="1"/>
          </p:nvSpPr>
          <p:spPr bwMode="gray">
            <a:xfrm>
              <a:off x="895832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6" name="Rechteck 695">
              <a:extLst>
                <a:ext uri="{FF2B5EF4-FFF2-40B4-BE49-F238E27FC236}">
                  <a16:creationId xmlns:a16="http://schemas.microsoft.com/office/drawing/2014/main" id="{BFBD31BF-21A0-8C08-7846-4C6E3550D334}"/>
                </a:ext>
              </a:extLst>
            </p:cNvPr>
            <p:cNvSpPr/>
            <p:nvPr userDrawn="1"/>
          </p:nvSpPr>
          <p:spPr bwMode="gray">
            <a:xfrm>
              <a:off x="838225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7" name="Rechteck 696">
              <a:extLst>
                <a:ext uri="{FF2B5EF4-FFF2-40B4-BE49-F238E27FC236}">
                  <a16:creationId xmlns:a16="http://schemas.microsoft.com/office/drawing/2014/main" id="{E702ABEE-AFDE-FCB9-DC6D-4C548A32C549}"/>
                </a:ext>
              </a:extLst>
            </p:cNvPr>
            <p:cNvSpPr/>
            <p:nvPr userDrawn="1"/>
          </p:nvSpPr>
          <p:spPr bwMode="gray">
            <a:xfrm>
              <a:off x="780619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8" name="Rechteck 697">
              <a:extLst>
                <a:ext uri="{FF2B5EF4-FFF2-40B4-BE49-F238E27FC236}">
                  <a16:creationId xmlns:a16="http://schemas.microsoft.com/office/drawing/2014/main" id="{57D26C21-34A9-14F8-1EBE-6BEA872B7EC6}"/>
                </a:ext>
              </a:extLst>
            </p:cNvPr>
            <p:cNvSpPr/>
            <p:nvPr userDrawn="1"/>
          </p:nvSpPr>
          <p:spPr bwMode="gray">
            <a:xfrm>
              <a:off x="723012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699" name="Rechteck 698">
              <a:extLst>
                <a:ext uri="{FF2B5EF4-FFF2-40B4-BE49-F238E27FC236}">
                  <a16:creationId xmlns:a16="http://schemas.microsoft.com/office/drawing/2014/main" id="{3011720A-B02A-1F24-D94C-A7397307D93B}"/>
                </a:ext>
              </a:extLst>
            </p:cNvPr>
            <p:cNvSpPr/>
            <p:nvPr userDrawn="1"/>
          </p:nvSpPr>
          <p:spPr bwMode="gray">
            <a:xfrm>
              <a:off x="665406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0" name="Rechteck 699">
              <a:extLst>
                <a:ext uri="{FF2B5EF4-FFF2-40B4-BE49-F238E27FC236}">
                  <a16:creationId xmlns:a16="http://schemas.microsoft.com/office/drawing/2014/main" id="{2E9FD90D-3AFA-EEEE-D410-56A8E2D55BA7}"/>
                </a:ext>
              </a:extLst>
            </p:cNvPr>
            <p:cNvSpPr/>
            <p:nvPr userDrawn="1"/>
          </p:nvSpPr>
          <p:spPr bwMode="gray">
            <a:xfrm>
              <a:off x="607800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1" name="Rechteck 700">
              <a:extLst>
                <a:ext uri="{FF2B5EF4-FFF2-40B4-BE49-F238E27FC236}">
                  <a16:creationId xmlns:a16="http://schemas.microsoft.com/office/drawing/2014/main" id="{6FCC2FBF-958C-7735-0A1C-16A56435300D}"/>
                </a:ext>
              </a:extLst>
            </p:cNvPr>
            <p:cNvSpPr/>
            <p:nvPr userDrawn="1"/>
          </p:nvSpPr>
          <p:spPr bwMode="gray">
            <a:xfrm>
              <a:off x="550193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2" name="Rechteck 701">
              <a:extLst>
                <a:ext uri="{FF2B5EF4-FFF2-40B4-BE49-F238E27FC236}">
                  <a16:creationId xmlns:a16="http://schemas.microsoft.com/office/drawing/2014/main" id="{3D9D4B3E-434E-ECCC-A3D5-132211A0DE6A}"/>
                </a:ext>
              </a:extLst>
            </p:cNvPr>
            <p:cNvSpPr/>
            <p:nvPr userDrawn="1"/>
          </p:nvSpPr>
          <p:spPr bwMode="gray">
            <a:xfrm>
              <a:off x="492587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3" name="Rechteck 702">
              <a:extLst>
                <a:ext uri="{FF2B5EF4-FFF2-40B4-BE49-F238E27FC236}">
                  <a16:creationId xmlns:a16="http://schemas.microsoft.com/office/drawing/2014/main" id="{45D248EB-65FC-9849-23DE-90DAA04E9119}"/>
                </a:ext>
              </a:extLst>
            </p:cNvPr>
            <p:cNvSpPr/>
            <p:nvPr userDrawn="1"/>
          </p:nvSpPr>
          <p:spPr bwMode="gray">
            <a:xfrm>
              <a:off x="434980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4" name="Rechteck 703">
              <a:extLst>
                <a:ext uri="{FF2B5EF4-FFF2-40B4-BE49-F238E27FC236}">
                  <a16:creationId xmlns:a16="http://schemas.microsoft.com/office/drawing/2014/main" id="{96F47919-304A-390F-A714-2F83255EEB6A}"/>
                </a:ext>
              </a:extLst>
            </p:cNvPr>
            <p:cNvSpPr/>
            <p:nvPr userDrawn="1"/>
          </p:nvSpPr>
          <p:spPr bwMode="gray">
            <a:xfrm>
              <a:off x="377374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5" name="Rechteck 704">
              <a:extLst>
                <a:ext uri="{FF2B5EF4-FFF2-40B4-BE49-F238E27FC236}">
                  <a16:creationId xmlns:a16="http://schemas.microsoft.com/office/drawing/2014/main" id="{3BFC90F8-328B-5CFC-949C-6F43624417D7}"/>
                </a:ext>
              </a:extLst>
            </p:cNvPr>
            <p:cNvSpPr/>
            <p:nvPr userDrawn="1"/>
          </p:nvSpPr>
          <p:spPr bwMode="gray">
            <a:xfrm>
              <a:off x="319768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6" name="Rechteck 705">
              <a:extLst>
                <a:ext uri="{FF2B5EF4-FFF2-40B4-BE49-F238E27FC236}">
                  <a16:creationId xmlns:a16="http://schemas.microsoft.com/office/drawing/2014/main" id="{D9E9C03E-129D-B797-8A98-7094D02C4E00}"/>
                </a:ext>
              </a:extLst>
            </p:cNvPr>
            <p:cNvSpPr/>
            <p:nvPr userDrawn="1"/>
          </p:nvSpPr>
          <p:spPr bwMode="gray">
            <a:xfrm>
              <a:off x="2621616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7" name="Rechteck 706">
              <a:extLst>
                <a:ext uri="{FF2B5EF4-FFF2-40B4-BE49-F238E27FC236}">
                  <a16:creationId xmlns:a16="http://schemas.microsoft.com/office/drawing/2014/main" id="{76EA08EF-3571-3BD0-BC82-8EAECCFD1C87}"/>
                </a:ext>
              </a:extLst>
            </p:cNvPr>
            <p:cNvSpPr/>
            <p:nvPr userDrawn="1"/>
          </p:nvSpPr>
          <p:spPr bwMode="gray">
            <a:xfrm>
              <a:off x="2045552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8" name="Rechteck 707">
              <a:extLst>
                <a:ext uri="{FF2B5EF4-FFF2-40B4-BE49-F238E27FC236}">
                  <a16:creationId xmlns:a16="http://schemas.microsoft.com/office/drawing/2014/main" id="{64E17A62-2A82-E3FC-BB4D-997A5897219C}"/>
                </a:ext>
              </a:extLst>
            </p:cNvPr>
            <p:cNvSpPr/>
            <p:nvPr userDrawn="1"/>
          </p:nvSpPr>
          <p:spPr bwMode="gray">
            <a:xfrm>
              <a:off x="1469488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09" name="Rechteck 708">
              <a:extLst>
                <a:ext uri="{FF2B5EF4-FFF2-40B4-BE49-F238E27FC236}">
                  <a16:creationId xmlns:a16="http://schemas.microsoft.com/office/drawing/2014/main" id="{8068A110-BA33-3AAB-4C65-51F4707BE47C}"/>
                </a:ext>
              </a:extLst>
            </p:cNvPr>
            <p:cNvSpPr/>
            <p:nvPr userDrawn="1"/>
          </p:nvSpPr>
          <p:spPr bwMode="gray">
            <a:xfrm>
              <a:off x="893424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0" name="Rechteck 709">
              <a:extLst>
                <a:ext uri="{FF2B5EF4-FFF2-40B4-BE49-F238E27FC236}">
                  <a16:creationId xmlns:a16="http://schemas.microsoft.com/office/drawing/2014/main" id="{58A44D55-0C13-686B-EABD-0F964DCCA34F}"/>
                </a:ext>
              </a:extLst>
            </p:cNvPr>
            <p:cNvSpPr/>
            <p:nvPr userDrawn="1"/>
          </p:nvSpPr>
          <p:spPr bwMode="gray">
            <a:xfrm>
              <a:off x="31736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1" name="Rechteck 710">
              <a:extLst>
                <a:ext uri="{FF2B5EF4-FFF2-40B4-BE49-F238E27FC236}">
                  <a16:creationId xmlns:a16="http://schemas.microsoft.com/office/drawing/2014/main" id="{B6282360-48A5-1FEC-8830-3A07CCCD8A2C}"/>
                </a:ext>
              </a:extLst>
            </p:cNvPr>
            <p:cNvSpPr/>
            <p:nvPr userDrawn="1"/>
          </p:nvSpPr>
          <p:spPr bwMode="gray">
            <a:xfrm>
              <a:off x="1126257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2" name="Rechteck 711">
              <a:extLst>
                <a:ext uri="{FF2B5EF4-FFF2-40B4-BE49-F238E27FC236}">
                  <a16:creationId xmlns:a16="http://schemas.microsoft.com/office/drawing/2014/main" id="{BF47F399-F039-2E26-AA7F-39FA37B35966}"/>
                </a:ext>
              </a:extLst>
            </p:cNvPr>
            <p:cNvSpPr/>
            <p:nvPr userDrawn="1"/>
          </p:nvSpPr>
          <p:spPr bwMode="gray">
            <a:xfrm>
              <a:off x="1068651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3" name="Rechteck 712">
              <a:extLst>
                <a:ext uri="{FF2B5EF4-FFF2-40B4-BE49-F238E27FC236}">
                  <a16:creationId xmlns:a16="http://schemas.microsoft.com/office/drawing/2014/main" id="{19C9502A-EEA0-43B5-CA3C-850FFF3BF11B}"/>
                </a:ext>
              </a:extLst>
            </p:cNvPr>
            <p:cNvSpPr/>
            <p:nvPr userDrawn="1"/>
          </p:nvSpPr>
          <p:spPr bwMode="gray">
            <a:xfrm>
              <a:off x="1011044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4" name="Rechteck 713">
              <a:extLst>
                <a:ext uri="{FF2B5EF4-FFF2-40B4-BE49-F238E27FC236}">
                  <a16:creationId xmlns:a16="http://schemas.microsoft.com/office/drawing/2014/main" id="{EAA1F086-1034-F7F8-6323-4F64FA54D52E}"/>
                </a:ext>
              </a:extLst>
            </p:cNvPr>
            <p:cNvSpPr/>
            <p:nvPr userDrawn="1"/>
          </p:nvSpPr>
          <p:spPr bwMode="gray">
            <a:xfrm>
              <a:off x="953438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5" name="Rechteck 714">
              <a:extLst>
                <a:ext uri="{FF2B5EF4-FFF2-40B4-BE49-F238E27FC236}">
                  <a16:creationId xmlns:a16="http://schemas.microsoft.com/office/drawing/2014/main" id="{5C87350B-44BA-A287-BBC6-39C03D126165}"/>
                </a:ext>
              </a:extLst>
            </p:cNvPr>
            <p:cNvSpPr/>
            <p:nvPr userDrawn="1"/>
          </p:nvSpPr>
          <p:spPr bwMode="gray">
            <a:xfrm>
              <a:off x="895832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6" name="Rechteck 715">
              <a:extLst>
                <a:ext uri="{FF2B5EF4-FFF2-40B4-BE49-F238E27FC236}">
                  <a16:creationId xmlns:a16="http://schemas.microsoft.com/office/drawing/2014/main" id="{B611F7A2-DE8F-D592-F59E-B91F0E2D65BB}"/>
                </a:ext>
              </a:extLst>
            </p:cNvPr>
            <p:cNvSpPr/>
            <p:nvPr userDrawn="1"/>
          </p:nvSpPr>
          <p:spPr bwMode="gray">
            <a:xfrm>
              <a:off x="838225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7" name="Rechteck 716">
              <a:extLst>
                <a:ext uri="{FF2B5EF4-FFF2-40B4-BE49-F238E27FC236}">
                  <a16:creationId xmlns:a16="http://schemas.microsoft.com/office/drawing/2014/main" id="{09DF8832-35A4-42ED-B20E-914DCCEF5902}"/>
                </a:ext>
              </a:extLst>
            </p:cNvPr>
            <p:cNvSpPr/>
            <p:nvPr userDrawn="1"/>
          </p:nvSpPr>
          <p:spPr bwMode="gray">
            <a:xfrm>
              <a:off x="780619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8" name="Rechteck 717">
              <a:extLst>
                <a:ext uri="{FF2B5EF4-FFF2-40B4-BE49-F238E27FC236}">
                  <a16:creationId xmlns:a16="http://schemas.microsoft.com/office/drawing/2014/main" id="{5C5DE0FD-ACBB-BA64-FC68-EDD40FC9255F}"/>
                </a:ext>
              </a:extLst>
            </p:cNvPr>
            <p:cNvSpPr/>
            <p:nvPr userDrawn="1"/>
          </p:nvSpPr>
          <p:spPr bwMode="gray">
            <a:xfrm>
              <a:off x="723012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19" name="Rechteck 718">
              <a:extLst>
                <a:ext uri="{FF2B5EF4-FFF2-40B4-BE49-F238E27FC236}">
                  <a16:creationId xmlns:a16="http://schemas.microsoft.com/office/drawing/2014/main" id="{CC1573AD-B10C-41EA-A57E-B0F270F8C3D2}"/>
                </a:ext>
              </a:extLst>
            </p:cNvPr>
            <p:cNvSpPr/>
            <p:nvPr userDrawn="1"/>
          </p:nvSpPr>
          <p:spPr bwMode="gray">
            <a:xfrm>
              <a:off x="665406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0" name="Rechteck 719">
              <a:extLst>
                <a:ext uri="{FF2B5EF4-FFF2-40B4-BE49-F238E27FC236}">
                  <a16:creationId xmlns:a16="http://schemas.microsoft.com/office/drawing/2014/main" id="{78030154-E285-8777-84E2-C7B8E49DE95E}"/>
                </a:ext>
              </a:extLst>
            </p:cNvPr>
            <p:cNvSpPr/>
            <p:nvPr userDrawn="1"/>
          </p:nvSpPr>
          <p:spPr bwMode="gray">
            <a:xfrm>
              <a:off x="607800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1" name="Rechteck 720">
              <a:extLst>
                <a:ext uri="{FF2B5EF4-FFF2-40B4-BE49-F238E27FC236}">
                  <a16:creationId xmlns:a16="http://schemas.microsoft.com/office/drawing/2014/main" id="{0563102E-2261-7B1C-54AD-C5C578C3C873}"/>
                </a:ext>
              </a:extLst>
            </p:cNvPr>
            <p:cNvSpPr/>
            <p:nvPr userDrawn="1"/>
          </p:nvSpPr>
          <p:spPr bwMode="gray">
            <a:xfrm>
              <a:off x="550193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2" name="Rechteck 721">
              <a:extLst>
                <a:ext uri="{FF2B5EF4-FFF2-40B4-BE49-F238E27FC236}">
                  <a16:creationId xmlns:a16="http://schemas.microsoft.com/office/drawing/2014/main" id="{7A2BFCAF-0196-C069-700B-A4AA62C6E3FE}"/>
                </a:ext>
              </a:extLst>
            </p:cNvPr>
            <p:cNvSpPr/>
            <p:nvPr userDrawn="1"/>
          </p:nvSpPr>
          <p:spPr bwMode="gray">
            <a:xfrm>
              <a:off x="492587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3" name="Rechteck 722">
              <a:extLst>
                <a:ext uri="{FF2B5EF4-FFF2-40B4-BE49-F238E27FC236}">
                  <a16:creationId xmlns:a16="http://schemas.microsoft.com/office/drawing/2014/main" id="{4305C88E-AEF0-EAF9-F9BE-AD92FEA08EA1}"/>
                </a:ext>
              </a:extLst>
            </p:cNvPr>
            <p:cNvSpPr/>
            <p:nvPr userDrawn="1"/>
          </p:nvSpPr>
          <p:spPr bwMode="gray">
            <a:xfrm>
              <a:off x="434980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4" name="Rechteck 723">
              <a:extLst>
                <a:ext uri="{FF2B5EF4-FFF2-40B4-BE49-F238E27FC236}">
                  <a16:creationId xmlns:a16="http://schemas.microsoft.com/office/drawing/2014/main" id="{5C5AA5F0-64E2-8B3F-E80E-5EF2E5B990F8}"/>
                </a:ext>
              </a:extLst>
            </p:cNvPr>
            <p:cNvSpPr/>
            <p:nvPr userDrawn="1"/>
          </p:nvSpPr>
          <p:spPr bwMode="gray">
            <a:xfrm>
              <a:off x="377374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5" name="Rechteck 724">
              <a:extLst>
                <a:ext uri="{FF2B5EF4-FFF2-40B4-BE49-F238E27FC236}">
                  <a16:creationId xmlns:a16="http://schemas.microsoft.com/office/drawing/2014/main" id="{9EAE955B-D45F-F3F1-A2DC-1B7E386D5E15}"/>
                </a:ext>
              </a:extLst>
            </p:cNvPr>
            <p:cNvSpPr/>
            <p:nvPr userDrawn="1"/>
          </p:nvSpPr>
          <p:spPr bwMode="gray">
            <a:xfrm>
              <a:off x="319768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6" name="Rechteck 725">
              <a:extLst>
                <a:ext uri="{FF2B5EF4-FFF2-40B4-BE49-F238E27FC236}">
                  <a16:creationId xmlns:a16="http://schemas.microsoft.com/office/drawing/2014/main" id="{CE8EEC35-65A0-6651-782E-D74375C8FE9C}"/>
                </a:ext>
              </a:extLst>
            </p:cNvPr>
            <p:cNvSpPr/>
            <p:nvPr userDrawn="1"/>
          </p:nvSpPr>
          <p:spPr bwMode="gray">
            <a:xfrm>
              <a:off x="2621616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7" name="Rechteck 726">
              <a:extLst>
                <a:ext uri="{FF2B5EF4-FFF2-40B4-BE49-F238E27FC236}">
                  <a16:creationId xmlns:a16="http://schemas.microsoft.com/office/drawing/2014/main" id="{D9136E2B-567D-E2F8-62BE-A9E5C4AEBBDB}"/>
                </a:ext>
              </a:extLst>
            </p:cNvPr>
            <p:cNvSpPr/>
            <p:nvPr userDrawn="1"/>
          </p:nvSpPr>
          <p:spPr bwMode="gray">
            <a:xfrm>
              <a:off x="2045552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8" name="Rechteck 727">
              <a:extLst>
                <a:ext uri="{FF2B5EF4-FFF2-40B4-BE49-F238E27FC236}">
                  <a16:creationId xmlns:a16="http://schemas.microsoft.com/office/drawing/2014/main" id="{072DA505-EB91-3454-9F55-29AC5A477D3A}"/>
                </a:ext>
              </a:extLst>
            </p:cNvPr>
            <p:cNvSpPr/>
            <p:nvPr userDrawn="1"/>
          </p:nvSpPr>
          <p:spPr bwMode="gray">
            <a:xfrm>
              <a:off x="1469488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29" name="Rechteck 728">
              <a:extLst>
                <a:ext uri="{FF2B5EF4-FFF2-40B4-BE49-F238E27FC236}">
                  <a16:creationId xmlns:a16="http://schemas.microsoft.com/office/drawing/2014/main" id="{8C743622-41AB-2DFE-6079-339D7B2E2FAD}"/>
                </a:ext>
              </a:extLst>
            </p:cNvPr>
            <p:cNvSpPr/>
            <p:nvPr userDrawn="1"/>
          </p:nvSpPr>
          <p:spPr bwMode="gray">
            <a:xfrm>
              <a:off x="893424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0" name="Rechteck 729">
              <a:extLst>
                <a:ext uri="{FF2B5EF4-FFF2-40B4-BE49-F238E27FC236}">
                  <a16:creationId xmlns:a16="http://schemas.microsoft.com/office/drawing/2014/main" id="{978EE1A2-B3C3-F08A-3D80-987A2CEA204E}"/>
                </a:ext>
              </a:extLst>
            </p:cNvPr>
            <p:cNvSpPr/>
            <p:nvPr userDrawn="1"/>
          </p:nvSpPr>
          <p:spPr bwMode="gray">
            <a:xfrm>
              <a:off x="31736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1" name="Rechteck 730">
              <a:extLst>
                <a:ext uri="{FF2B5EF4-FFF2-40B4-BE49-F238E27FC236}">
                  <a16:creationId xmlns:a16="http://schemas.microsoft.com/office/drawing/2014/main" id="{19EFB8CC-35CE-83CC-7A52-FDB64E0EE9FC}"/>
                </a:ext>
              </a:extLst>
            </p:cNvPr>
            <p:cNvSpPr/>
            <p:nvPr userDrawn="1"/>
          </p:nvSpPr>
          <p:spPr bwMode="gray">
            <a:xfrm>
              <a:off x="1126257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2" name="Rechteck 731">
              <a:extLst>
                <a:ext uri="{FF2B5EF4-FFF2-40B4-BE49-F238E27FC236}">
                  <a16:creationId xmlns:a16="http://schemas.microsoft.com/office/drawing/2014/main" id="{05C8A9B9-25C8-E4C2-C45C-5D2C3A79927A}"/>
                </a:ext>
              </a:extLst>
            </p:cNvPr>
            <p:cNvSpPr/>
            <p:nvPr userDrawn="1"/>
          </p:nvSpPr>
          <p:spPr bwMode="gray">
            <a:xfrm>
              <a:off x="1068651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3" name="Rechteck 732">
              <a:extLst>
                <a:ext uri="{FF2B5EF4-FFF2-40B4-BE49-F238E27FC236}">
                  <a16:creationId xmlns:a16="http://schemas.microsoft.com/office/drawing/2014/main" id="{8F6FC92F-47E5-0A9C-1736-24F92E9D4390}"/>
                </a:ext>
              </a:extLst>
            </p:cNvPr>
            <p:cNvSpPr/>
            <p:nvPr userDrawn="1"/>
          </p:nvSpPr>
          <p:spPr bwMode="gray">
            <a:xfrm>
              <a:off x="1011044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4" name="Rechteck 733">
              <a:extLst>
                <a:ext uri="{FF2B5EF4-FFF2-40B4-BE49-F238E27FC236}">
                  <a16:creationId xmlns:a16="http://schemas.microsoft.com/office/drawing/2014/main" id="{E15AD90A-CEED-3B3D-35AD-F8D3A9AB8913}"/>
                </a:ext>
              </a:extLst>
            </p:cNvPr>
            <p:cNvSpPr/>
            <p:nvPr userDrawn="1"/>
          </p:nvSpPr>
          <p:spPr bwMode="gray">
            <a:xfrm>
              <a:off x="953438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5" name="Rechteck 734">
              <a:extLst>
                <a:ext uri="{FF2B5EF4-FFF2-40B4-BE49-F238E27FC236}">
                  <a16:creationId xmlns:a16="http://schemas.microsoft.com/office/drawing/2014/main" id="{67979FA8-197D-7646-2E74-0D5C0860C561}"/>
                </a:ext>
              </a:extLst>
            </p:cNvPr>
            <p:cNvSpPr/>
            <p:nvPr userDrawn="1"/>
          </p:nvSpPr>
          <p:spPr bwMode="gray">
            <a:xfrm>
              <a:off x="895832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6" name="Rechteck 735">
              <a:extLst>
                <a:ext uri="{FF2B5EF4-FFF2-40B4-BE49-F238E27FC236}">
                  <a16:creationId xmlns:a16="http://schemas.microsoft.com/office/drawing/2014/main" id="{8C1690AF-07E7-417E-D020-FEF1F86DE3E0}"/>
                </a:ext>
              </a:extLst>
            </p:cNvPr>
            <p:cNvSpPr/>
            <p:nvPr userDrawn="1"/>
          </p:nvSpPr>
          <p:spPr bwMode="gray">
            <a:xfrm>
              <a:off x="838225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7" name="Rechteck 736">
              <a:extLst>
                <a:ext uri="{FF2B5EF4-FFF2-40B4-BE49-F238E27FC236}">
                  <a16:creationId xmlns:a16="http://schemas.microsoft.com/office/drawing/2014/main" id="{4CDF46FE-A6A4-19EC-1760-8241851A640D}"/>
                </a:ext>
              </a:extLst>
            </p:cNvPr>
            <p:cNvSpPr/>
            <p:nvPr userDrawn="1"/>
          </p:nvSpPr>
          <p:spPr bwMode="gray">
            <a:xfrm>
              <a:off x="780619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8" name="Rechteck 737">
              <a:extLst>
                <a:ext uri="{FF2B5EF4-FFF2-40B4-BE49-F238E27FC236}">
                  <a16:creationId xmlns:a16="http://schemas.microsoft.com/office/drawing/2014/main" id="{D0BBBD05-88AE-755B-CCD5-779986C106FF}"/>
                </a:ext>
              </a:extLst>
            </p:cNvPr>
            <p:cNvSpPr/>
            <p:nvPr userDrawn="1"/>
          </p:nvSpPr>
          <p:spPr bwMode="gray">
            <a:xfrm>
              <a:off x="723012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39" name="Rechteck 738">
              <a:extLst>
                <a:ext uri="{FF2B5EF4-FFF2-40B4-BE49-F238E27FC236}">
                  <a16:creationId xmlns:a16="http://schemas.microsoft.com/office/drawing/2014/main" id="{A2AD4B53-C18F-DE88-5BC5-25C2A2D64237}"/>
                </a:ext>
              </a:extLst>
            </p:cNvPr>
            <p:cNvSpPr/>
            <p:nvPr userDrawn="1"/>
          </p:nvSpPr>
          <p:spPr bwMode="gray">
            <a:xfrm>
              <a:off x="665406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0" name="Rechteck 739">
              <a:extLst>
                <a:ext uri="{FF2B5EF4-FFF2-40B4-BE49-F238E27FC236}">
                  <a16:creationId xmlns:a16="http://schemas.microsoft.com/office/drawing/2014/main" id="{2330320E-07C8-F649-FC60-D320E3ED90BF}"/>
                </a:ext>
              </a:extLst>
            </p:cNvPr>
            <p:cNvSpPr/>
            <p:nvPr userDrawn="1"/>
          </p:nvSpPr>
          <p:spPr bwMode="gray">
            <a:xfrm>
              <a:off x="607800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1" name="Rechteck 740">
              <a:extLst>
                <a:ext uri="{FF2B5EF4-FFF2-40B4-BE49-F238E27FC236}">
                  <a16:creationId xmlns:a16="http://schemas.microsoft.com/office/drawing/2014/main" id="{A7C16634-1F2B-1C62-D120-97A756CE1840}"/>
                </a:ext>
              </a:extLst>
            </p:cNvPr>
            <p:cNvSpPr/>
            <p:nvPr userDrawn="1"/>
          </p:nvSpPr>
          <p:spPr bwMode="gray">
            <a:xfrm>
              <a:off x="550193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2" name="Rechteck 741">
              <a:extLst>
                <a:ext uri="{FF2B5EF4-FFF2-40B4-BE49-F238E27FC236}">
                  <a16:creationId xmlns:a16="http://schemas.microsoft.com/office/drawing/2014/main" id="{BA34E16F-1BA3-8AAC-A190-19145C7947D1}"/>
                </a:ext>
              </a:extLst>
            </p:cNvPr>
            <p:cNvSpPr/>
            <p:nvPr userDrawn="1"/>
          </p:nvSpPr>
          <p:spPr bwMode="gray">
            <a:xfrm>
              <a:off x="492587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3" name="Rechteck 742">
              <a:extLst>
                <a:ext uri="{FF2B5EF4-FFF2-40B4-BE49-F238E27FC236}">
                  <a16:creationId xmlns:a16="http://schemas.microsoft.com/office/drawing/2014/main" id="{2E03565E-D6FA-3AA6-EAE6-60FA8AEBBCFF}"/>
                </a:ext>
              </a:extLst>
            </p:cNvPr>
            <p:cNvSpPr/>
            <p:nvPr userDrawn="1"/>
          </p:nvSpPr>
          <p:spPr bwMode="gray">
            <a:xfrm>
              <a:off x="434980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4" name="Rechteck 743">
              <a:extLst>
                <a:ext uri="{FF2B5EF4-FFF2-40B4-BE49-F238E27FC236}">
                  <a16:creationId xmlns:a16="http://schemas.microsoft.com/office/drawing/2014/main" id="{DDAFE961-37A9-F700-CCE0-53CF0F7376F9}"/>
                </a:ext>
              </a:extLst>
            </p:cNvPr>
            <p:cNvSpPr/>
            <p:nvPr userDrawn="1"/>
          </p:nvSpPr>
          <p:spPr bwMode="gray">
            <a:xfrm>
              <a:off x="377374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5" name="Rechteck 744">
              <a:extLst>
                <a:ext uri="{FF2B5EF4-FFF2-40B4-BE49-F238E27FC236}">
                  <a16:creationId xmlns:a16="http://schemas.microsoft.com/office/drawing/2014/main" id="{565EF1AB-E1F4-57B2-7563-F0BF4E82EE27}"/>
                </a:ext>
              </a:extLst>
            </p:cNvPr>
            <p:cNvSpPr/>
            <p:nvPr userDrawn="1"/>
          </p:nvSpPr>
          <p:spPr bwMode="gray">
            <a:xfrm>
              <a:off x="319768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CEF5166E-7942-7269-5CD2-DF6D6710953E}"/>
                </a:ext>
              </a:extLst>
            </p:cNvPr>
            <p:cNvSpPr/>
            <p:nvPr userDrawn="1"/>
          </p:nvSpPr>
          <p:spPr bwMode="gray">
            <a:xfrm>
              <a:off x="2621616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7" name="Rechteck 746">
              <a:extLst>
                <a:ext uri="{FF2B5EF4-FFF2-40B4-BE49-F238E27FC236}">
                  <a16:creationId xmlns:a16="http://schemas.microsoft.com/office/drawing/2014/main" id="{FD31B3D4-366D-E6CF-5C73-0D16344A9A2A}"/>
                </a:ext>
              </a:extLst>
            </p:cNvPr>
            <p:cNvSpPr/>
            <p:nvPr userDrawn="1"/>
          </p:nvSpPr>
          <p:spPr bwMode="gray">
            <a:xfrm>
              <a:off x="2045552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8" name="Rechteck 747">
              <a:extLst>
                <a:ext uri="{FF2B5EF4-FFF2-40B4-BE49-F238E27FC236}">
                  <a16:creationId xmlns:a16="http://schemas.microsoft.com/office/drawing/2014/main" id="{A8883A67-AF2F-0A02-F5FD-0EFE7137C00D}"/>
                </a:ext>
              </a:extLst>
            </p:cNvPr>
            <p:cNvSpPr/>
            <p:nvPr userDrawn="1"/>
          </p:nvSpPr>
          <p:spPr bwMode="gray">
            <a:xfrm>
              <a:off x="1469488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49" name="Rechteck 748">
              <a:extLst>
                <a:ext uri="{FF2B5EF4-FFF2-40B4-BE49-F238E27FC236}">
                  <a16:creationId xmlns:a16="http://schemas.microsoft.com/office/drawing/2014/main" id="{CFABFEA7-E0E1-894D-A314-180B265E2E80}"/>
                </a:ext>
              </a:extLst>
            </p:cNvPr>
            <p:cNvSpPr/>
            <p:nvPr userDrawn="1"/>
          </p:nvSpPr>
          <p:spPr bwMode="gray">
            <a:xfrm>
              <a:off x="893424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0" name="Rechteck 749">
              <a:extLst>
                <a:ext uri="{FF2B5EF4-FFF2-40B4-BE49-F238E27FC236}">
                  <a16:creationId xmlns:a16="http://schemas.microsoft.com/office/drawing/2014/main" id="{CCC1B349-39D6-6964-06C9-56F46ADA9FF5}"/>
                </a:ext>
              </a:extLst>
            </p:cNvPr>
            <p:cNvSpPr/>
            <p:nvPr userDrawn="1"/>
          </p:nvSpPr>
          <p:spPr bwMode="gray">
            <a:xfrm>
              <a:off x="31736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1" name="Rechteck 750">
              <a:extLst>
                <a:ext uri="{FF2B5EF4-FFF2-40B4-BE49-F238E27FC236}">
                  <a16:creationId xmlns:a16="http://schemas.microsoft.com/office/drawing/2014/main" id="{2F2AC973-3678-EF30-5508-0EFC6712D9F0}"/>
                </a:ext>
              </a:extLst>
            </p:cNvPr>
            <p:cNvSpPr/>
            <p:nvPr userDrawn="1"/>
          </p:nvSpPr>
          <p:spPr bwMode="gray">
            <a:xfrm>
              <a:off x="1126257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2" name="Rechteck 751">
              <a:extLst>
                <a:ext uri="{FF2B5EF4-FFF2-40B4-BE49-F238E27FC236}">
                  <a16:creationId xmlns:a16="http://schemas.microsoft.com/office/drawing/2014/main" id="{35E69DA7-FD7C-8370-38A8-D55251AED31B}"/>
                </a:ext>
              </a:extLst>
            </p:cNvPr>
            <p:cNvSpPr/>
            <p:nvPr userDrawn="1"/>
          </p:nvSpPr>
          <p:spPr bwMode="gray">
            <a:xfrm>
              <a:off x="1068651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3" name="Rechteck 752">
              <a:extLst>
                <a:ext uri="{FF2B5EF4-FFF2-40B4-BE49-F238E27FC236}">
                  <a16:creationId xmlns:a16="http://schemas.microsoft.com/office/drawing/2014/main" id="{244BCA0C-C458-26AB-736D-24007068C7A8}"/>
                </a:ext>
              </a:extLst>
            </p:cNvPr>
            <p:cNvSpPr/>
            <p:nvPr userDrawn="1"/>
          </p:nvSpPr>
          <p:spPr bwMode="gray">
            <a:xfrm>
              <a:off x="1011044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4" name="Rechteck 753">
              <a:extLst>
                <a:ext uri="{FF2B5EF4-FFF2-40B4-BE49-F238E27FC236}">
                  <a16:creationId xmlns:a16="http://schemas.microsoft.com/office/drawing/2014/main" id="{35E93E16-5FC5-12EE-C867-FAE6A2763BDD}"/>
                </a:ext>
              </a:extLst>
            </p:cNvPr>
            <p:cNvSpPr/>
            <p:nvPr userDrawn="1"/>
          </p:nvSpPr>
          <p:spPr bwMode="gray">
            <a:xfrm>
              <a:off x="953438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5" name="Rechteck 754">
              <a:extLst>
                <a:ext uri="{FF2B5EF4-FFF2-40B4-BE49-F238E27FC236}">
                  <a16:creationId xmlns:a16="http://schemas.microsoft.com/office/drawing/2014/main" id="{759E5477-2636-E307-A017-F26F0305EB74}"/>
                </a:ext>
              </a:extLst>
            </p:cNvPr>
            <p:cNvSpPr/>
            <p:nvPr userDrawn="1"/>
          </p:nvSpPr>
          <p:spPr bwMode="gray">
            <a:xfrm>
              <a:off x="895832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6" name="Rechteck 755">
              <a:extLst>
                <a:ext uri="{FF2B5EF4-FFF2-40B4-BE49-F238E27FC236}">
                  <a16:creationId xmlns:a16="http://schemas.microsoft.com/office/drawing/2014/main" id="{1BE78FE1-0480-01A8-BADA-AF5459AD108F}"/>
                </a:ext>
              </a:extLst>
            </p:cNvPr>
            <p:cNvSpPr/>
            <p:nvPr userDrawn="1"/>
          </p:nvSpPr>
          <p:spPr bwMode="gray">
            <a:xfrm>
              <a:off x="838225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7" name="Rechteck 756">
              <a:extLst>
                <a:ext uri="{FF2B5EF4-FFF2-40B4-BE49-F238E27FC236}">
                  <a16:creationId xmlns:a16="http://schemas.microsoft.com/office/drawing/2014/main" id="{DE71C179-DF5B-71B0-D54E-E95D449EF766}"/>
                </a:ext>
              </a:extLst>
            </p:cNvPr>
            <p:cNvSpPr/>
            <p:nvPr userDrawn="1"/>
          </p:nvSpPr>
          <p:spPr bwMode="gray">
            <a:xfrm>
              <a:off x="780619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8" name="Rechteck 757">
              <a:extLst>
                <a:ext uri="{FF2B5EF4-FFF2-40B4-BE49-F238E27FC236}">
                  <a16:creationId xmlns:a16="http://schemas.microsoft.com/office/drawing/2014/main" id="{E655655F-0347-65A7-4DC4-0979C81CD990}"/>
                </a:ext>
              </a:extLst>
            </p:cNvPr>
            <p:cNvSpPr/>
            <p:nvPr userDrawn="1"/>
          </p:nvSpPr>
          <p:spPr bwMode="gray">
            <a:xfrm>
              <a:off x="723012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59" name="Rechteck 758">
              <a:extLst>
                <a:ext uri="{FF2B5EF4-FFF2-40B4-BE49-F238E27FC236}">
                  <a16:creationId xmlns:a16="http://schemas.microsoft.com/office/drawing/2014/main" id="{EA877A64-8978-BF4E-CF88-615EBEE992D2}"/>
                </a:ext>
              </a:extLst>
            </p:cNvPr>
            <p:cNvSpPr/>
            <p:nvPr userDrawn="1"/>
          </p:nvSpPr>
          <p:spPr bwMode="gray">
            <a:xfrm>
              <a:off x="665406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0" name="Rechteck 759">
              <a:extLst>
                <a:ext uri="{FF2B5EF4-FFF2-40B4-BE49-F238E27FC236}">
                  <a16:creationId xmlns:a16="http://schemas.microsoft.com/office/drawing/2014/main" id="{CFE19937-FFE9-031D-B24E-A64916D10CDD}"/>
                </a:ext>
              </a:extLst>
            </p:cNvPr>
            <p:cNvSpPr/>
            <p:nvPr userDrawn="1"/>
          </p:nvSpPr>
          <p:spPr bwMode="gray">
            <a:xfrm>
              <a:off x="607800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1" name="Rechteck 760">
              <a:extLst>
                <a:ext uri="{FF2B5EF4-FFF2-40B4-BE49-F238E27FC236}">
                  <a16:creationId xmlns:a16="http://schemas.microsoft.com/office/drawing/2014/main" id="{3858A1D4-E89C-6F7D-8025-D03C4283354B}"/>
                </a:ext>
              </a:extLst>
            </p:cNvPr>
            <p:cNvSpPr/>
            <p:nvPr userDrawn="1"/>
          </p:nvSpPr>
          <p:spPr bwMode="gray">
            <a:xfrm>
              <a:off x="550193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2" name="Rechteck 761">
              <a:extLst>
                <a:ext uri="{FF2B5EF4-FFF2-40B4-BE49-F238E27FC236}">
                  <a16:creationId xmlns:a16="http://schemas.microsoft.com/office/drawing/2014/main" id="{C9D1F4F9-F6C9-3C34-DEEB-8BFBEE43D880}"/>
                </a:ext>
              </a:extLst>
            </p:cNvPr>
            <p:cNvSpPr/>
            <p:nvPr userDrawn="1"/>
          </p:nvSpPr>
          <p:spPr bwMode="gray">
            <a:xfrm>
              <a:off x="492587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3" name="Rechteck 762">
              <a:extLst>
                <a:ext uri="{FF2B5EF4-FFF2-40B4-BE49-F238E27FC236}">
                  <a16:creationId xmlns:a16="http://schemas.microsoft.com/office/drawing/2014/main" id="{B49AF24D-3DC7-026A-6753-77E65341A85B}"/>
                </a:ext>
              </a:extLst>
            </p:cNvPr>
            <p:cNvSpPr/>
            <p:nvPr userDrawn="1"/>
          </p:nvSpPr>
          <p:spPr bwMode="gray">
            <a:xfrm>
              <a:off x="434980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4" name="Rechteck 763">
              <a:extLst>
                <a:ext uri="{FF2B5EF4-FFF2-40B4-BE49-F238E27FC236}">
                  <a16:creationId xmlns:a16="http://schemas.microsoft.com/office/drawing/2014/main" id="{BC03AF3E-2C01-0B7D-9914-0D29FDB0E1AD}"/>
                </a:ext>
              </a:extLst>
            </p:cNvPr>
            <p:cNvSpPr/>
            <p:nvPr userDrawn="1"/>
          </p:nvSpPr>
          <p:spPr bwMode="gray">
            <a:xfrm>
              <a:off x="377374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5" name="Rechteck 764">
              <a:extLst>
                <a:ext uri="{FF2B5EF4-FFF2-40B4-BE49-F238E27FC236}">
                  <a16:creationId xmlns:a16="http://schemas.microsoft.com/office/drawing/2014/main" id="{4A1A06BB-DE34-F683-DD12-FA76FB6BBDD3}"/>
                </a:ext>
              </a:extLst>
            </p:cNvPr>
            <p:cNvSpPr/>
            <p:nvPr userDrawn="1"/>
          </p:nvSpPr>
          <p:spPr bwMode="gray">
            <a:xfrm>
              <a:off x="319768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6" name="Rechteck 765">
              <a:extLst>
                <a:ext uri="{FF2B5EF4-FFF2-40B4-BE49-F238E27FC236}">
                  <a16:creationId xmlns:a16="http://schemas.microsoft.com/office/drawing/2014/main" id="{1E649CD3-E1AE-92F2-4C3C-BE8626E873EB}"/>
                </a:ext>
              </a:extLst>
            </p:cNvPr>
            <p:cNvSpPr/>
            <p:nvPr userDrawn="1"/>
          </p:nvSpPr>
          <p:spPr bwMode="gray">
            <a:xfrm>
              <a:off x="2621616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7" name="Rechteck 766">
              <a:extLst>
                <a:ext uri="{FF2B5EF4-FFF2-40B4-BE49-F238E27FC236}">
                  <a16:creationId xmlns:a16="http://schemas.microsoft.com/office/drawing/2014/main" id="{FBBFAC61-D572-A003-0FA7-C6F6BBE7107F}"/>
                </a:ext>
              </a:extLst>
            </p:cNvPr>
            <p:cNvSpPr/>
            <p:nvPr userDrawn="1"/>
          </p:nvSpPr>
          <p:spPr bwMode="gray">
            <a:xfrm>
              <a:off x="2045552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8" name="Rechteck 767">
              <a:extLst>
                <a:ext uri="{FF2B5EF4-FFF2-40B4-BE49-F238E27FC236}">
                  <a16:creationId xmlns:a16="http://schemas.microsoft.com/office/drawing/2014/main" id="{087EEB43-1F1E-4D6E-1904-2BFEC1AA7582}"/>
                </a:ext>
              </a:extLst>
            </p:cNvPr>
            <p:cNvSpPr/>
            <p:nvPr userDrawn="1"/>
          </p:nvSpPr>
          <p:spPr bwMode="gray">
            <a:xfrm>
              <a:off x="1469488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69" name="Rechteck 768">
              <a:extLst>
                <a:ext uri="{FF2B5EF4-FFF2-40B4-BE49-F238E27FC236}">
                  <a16:creationId xmlns:a16="http://schemas.microsoft.com/office/drawing/2014/main" id="{83CB1A25-2AD1-41E7-DF2E-09D2362FB7D6}"/>
                </a:ext>
              </a:extLst>
            </p:cNvPr>
            <p:cNvSpPr/>
            <p:nvPr userDrawn="1"/>
          </p:nvSpPr>
          <p:spPr bwMode="gray">
            <a:xfrm>
              <a:off x="893424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0" name="Rechteck 769">
              <a:extLst>
                <a:ext uri="{FF2B5EF4-FFF2-40B4-BE49-F238E27FC236}">
                  <a16:creationId xmlns:a16="http://schemas.microsoft.com/office/drawing/2014/main" id="{E0275135-3AB4-CC59-1F1E-3F0249175845}"/>
                </a:ext>
              </a:extLst>
            </p:cNvPr>
            <p:cNvSpPr/>
            <p:nvPr userDrawn="1"/>
          </p:nvSpPr>
          <p:spPr bwMode="gray">
            <a:xfrm>
              <a:off x="31736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1" name="Rechteck 770">
              <a:extLst>
                <a:ext uri="{FF2B5EF4-FFF2-40B4-BE49-F238E27FC236}">
                  <a16:creationId xmlns:a16="http://schemas.microsoft.com/office/drawing/2014/main" id="{A3A121D9-ACB1-53F0-3519-1EC8DDEA8AF1}"/>
                </a:ext>
              </a:extLst>
            </p:cNvPr>
            <p:cNvSpPr/>
            <p:nvPr userDrawn="1"/>
          </p:nvSpPr>
          <p:spPr bwMode="gray">
            <a:xfrm>
              <a:off x="11838640" y="148478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2" name="Rechteck 771">
              <a:extLst>
                <a:ext uri="{FF2B5EF4-FFF2-40B4-BE49-F238E27FC236}">
                  <a16:creationId xmlns:a16="http://schemas.microsoft.com/office/drawing/2014/main" id="{E9F14960-2584-D6F7-90A1-8BC4D2553FB4}"/>
                </a:ext>
              </a:extLst>
            </p:cNvPr>
            <p:cNvSpPr/>
            <p:nvPr userDrawn="1"/>
          </p:nvSpPr>
          <p:spPr bwMode="gray">
            <a:xfrm>
              <a:off x="11838640" y="206084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3" name="Rechteck 772">
              <a:extLst>
                <a:ext uri="{FF2B5EF4-FFF2-40B4-BE49-F238E27FC236}">
                  <a16:creationId xmlns:a16="http://schemas.microsoft.com/office/drawing/2014/main" id="{8FA6E9B7-39DB-9E9B-2CAA-6E23B491F0DD}"/>
                </a:ext>
              </a:extLst>
            </p:cNvPr>
            <p:cNvSpPr/>
            <p:nvPr userDrawn="1"/>
          </p:nvSpPr>
          <p:spPr bwMode="gray">
            <a:xfrm>
              <a:off x="11838640" y="263691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4" name="Rechteck 773">
              <a:extLst>
                <a:ext uri="{FF2B5EF4-FFF2-40B4-BE49-F238E27FC236}">
                  <a16:creationId xmlns:a16="http://schemas.microsoft.com/office/drawing/2014/main" id="{D52B8F7C-DF12-E819-AA45-2C9CC2151338}"/>
                </a:ext>
              </a:extLst>
            </p:cNvPr>
            <p:cNvSpPr/>
            <p:nvPr userDrawn="1"/>
          </p:nvSpPr>
          <p:spPr bwMode="gray">
            <a:xfrm>
              <a:off x="11838640" y="321297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5" name="Rechteck 774">
              <a:extLst>
                <a:ext uri="{FF2B5EF4-FFF2-40B4-BE49-F238E27FC236}">
                  <a16:creationId xmlns:a16="http://schemas.microsoft.com/office/drawing/2014/main" id="{FED27F47-859F-550D-7414-649DA95A43E0}"/>
                </a:ext>
              </a:extLst>
            </p:cNvPr>
            <p:cNvSpPr/>
            <p:nvPr userDrawn="1"/>
          </p:nvSpPr>
          <p:spPr bwMode="gray">
            <a:xfrm>
              <a:off x="11838640" y="3789040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6" name="Rechteck 775">
              <a:extLst>
                <a:ext uri="{FF2B5EF4-FFF2-40B4-BE49-F238E27FC236}">
                  <a16:creationId xmlns:a16="http://schemas.microsoft.com/office/drawing/2014/main" id="{DF307584-D647-EBE7-200F-8C491754F2C3}"/>
                </a:ext>
              </a:extLst>
            </p:cNvPr>
            <p:cNvSpPr/>
            <p:nvPr userDrawn="1"/>
          </p:nvSpPr>
          <p:spPr bwMode="gray">
            <a:xfrm>
              <a:off x="11838640" y="4365104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4F523918-E619-98C6-2F65-1C4204E23280}"/>
                </a:ext>
              </a:extLst>
            </p:cNvPr>
            <p:cNvSpPr/>
            <p:nvPr userDrawn="1"/>
          </p:nvSpPr>
          <p:spPr bwMode="gray">
            <a:xfrm>
              <a:off x="11838640" y="4941168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8" name="Rechteck 777">
              <a:extLst>
                <a:ext uri="{FF2B5EF4-FFF2-40B4-BE49-F238E27FC236}">
                  <a16:creationId xmlns:a16="http://schemas.microsoft.com/office/drawing/2014/main" id="{D5B91FCE-D6BE-E8D5-BD1A-AD201DD0B0EC}"/>
                </a:ext>
              </a:extLst>
            </p:cNvPr>
            <p:cNvSpPr/>
            <p:nvPr userDrawn="1"/>
          </p:nvSpPr>
          <p:spPr bwMode="gray">
            <a:xfrm>
              <a:off x="11838640" y="5517232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  <p:sp>
          <p:nvSpPr>
            <p:cNvPr id="779" name="Rechteck 778">
              <a:extLst>
                <a:ext uri="{FF2B5EF4-FFF2-40B4-BE49-F238E27FC236}">
                  <a16:creationId xmlns:a16="http://schemas.microsoft.com/office/drawing/2014/main" id="{B773B166-E3E3-2A65-7D81-6004E8A6D12B}"/>
                </a:ext>
              </a:extLst>
            </p:cNvPr>
            <p:cNvSpPr/>
            <p:nvPr userDrawn="1"/>
          </p:nvSpPr>
          <p:spPr bwMode="gray">
            <a:xfrm>
              <a:off x="11838640" y="6093296"/>
              <a:ext cx="18000" cy="18000"/>
            </a:xfrm>
            <a:prstGeom prst="rect">
              <a:avLst/>
            </a:prstGeom>
            <a:solidFill>
              <a:srgbClr val="9FA7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lnSpc>
                  <a:spcPct val="125000"/>
                </a:lnSpc>
              </a:pPr>
              <a:endParaRPr lang="en-GB" sz="1600" dirty="0"/>
            </a:p>
          </p:txBody>
        </p:sp>
      </p:grpSp>
      <p:sp>
        <p:nvSpPr>
          <p:cNvPr id="783" name="Freihandform: Form 782">
            <a:extLst>
              <a:ext uri="{FF2B5EF4-FFF2-40B4-BE49-F238E27FC236}">
                <a16:creationId xmlns:a16="http://schemas.microsoft.com/office/drawing/2014/main" id="{E324CE70-CBD5-917E-7361-52B2426598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424" y="2060848"/>
            <a:ext cx="2892425" cy="2879303"/>
          </a:xfrm>
          <a:custGeom>
            <a:avLst/>
            <a:gdLst>
              <a:gd name="connsiteX0" fmla="*/ 0 w 2892425"/>
              <a:gd name="connsiteY0" fmla="*/ 0 h 2879303"/>
              <a:gd name="connsiteX1" fmla="*/ 2892425 w 2892425"/>
              <a:gd name="connsiteY1" fmla="*/ 0 h 2879303"/>
              <a:gd name="connsiteX2" fmla="*/ 2307742 w 2892425"/>
              <a:gd name="connsiteY2" fmla="*/ 2298575 h 2879303"/>
              <a:gd name="connsiteX3" fmla="*/ 0 w 2892425"/>
              <a:gd name="connsiteY3" fmla="*/ 2879303 h 2879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92425" h="2879303">
                <a:moveTo>
                  <a:pt x="0" y="0"/>
                </a:moveTo>
                <a:lnTo>
                  <a:pt x="2892425" y="0"/>
                </a:lnTo>
                <a:lnTo>
                  <a:pt x="2307742" y="2298575"/>
                </a:lnTo>
                <a:lnTo>
                  <a:pt x="0" y="2879303"/>
                </a:lnTo>
                <a:close/>
              </a:path>
            </a:pathLst>
          </a:custGeom>
          <a:solidFill>
            <a:schemeClr val="bg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784" name="Number">
            <a:extLst>
              <a:ext uri="{FF2B5EF4-FFF2-40B4-BE49-F238E27FC236}">
                <a16:creationId xmlns:a16="http://schemas.microsoft.com/office/drawing/2014/main" id="{F6C546EE-6934-81E2-81C3-1D0AEED1A0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13259" y="2060997"/>
            <a:ext cx="2892425" cy="2879303"/>
          </a:xfrm>
          <a:custGeom>
            <a:avLst/>
            <a:gdLst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517775 w 3022600"/>
              <a:gd name="connsiteY2" fmla="*/ 2520950 h 3024187"/>
              <a:gd name="connsiteX3" fmla="*/ 0 w 3022600"/>
              <a:gd name="connsiteY3" fmla="*/ 3024187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159443 w 3022600"/>
              <a:gd name="connsiteY2" fmla="*/ 213411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  <a:gd name="connsiteX0" fmla="*/ 0 w 3022600"/>
              <a:gd name="connsiteY0" fmla="*/ 0 h 3024187"/>
              <a:gd name="connsiteX1" fmla="*/ 3022600 w 3022600"/>
              <a:gd name="connsiteY1" fmla="*/ 0 h 3024187"/>
              <a:gd name="connsiteX2" fmla="*/ 2411603 w 3022600"/>
              <a:gd name="connsiteY2" fmla="*/ 2414237 h 3024187"/>
              <a:gd name="connsiteX3" fmla="*/ 0 w 3022600"/>
              <a:gd name="connsiteY3" fmla="*/ 3024187 h 3024187"/>
              <a:gd name="connsiteX4" fmla="*/ 0 w 3022600"/>
              <a:gd name="connsiteY4" fmla="*/ 0 h 302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2600" h="3024187">
                <a:moveTo>
                  <a:pt x="0" y="0"/>
                </a:moveTo>
                <a:lnTo>
                  <a:pt x="3022600" y="0"/>
                </a:lnTo>
                <a:lnTo>
                  <a:pt x="2411603" y="2414237"/>
                </a:lnTo>
                <a:lnTo>
                  <a:pt x="0" y="302418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">
            <a:solidFill>
              <a:srgbClr val="FFA52F">
                <a:alpha val="0"/>
              </a:srgbClr>
            </a:solidFill>
          </a:ln>
        </p:spPr>
        <p:txBody>
          <a:bodyPr wrap="square" lIns="21600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9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6900" b="1">
                <a:solidFill>
                  <a:schemeClr val="tx1"/>
                </a:solidFill>
                <a:latin typeface="+mj-lt"/>
              </a:defRPr>
            </a:lvl9pPr>
          </a:lstStyle>
          <a:p>
            <a:r>
              <a:rPr lang="en-GB" dirty="0"/>
              <a:t>00</a:t>
            </a:r>
          </a:p>
        </p:txBody>
      </p:sp>
      <p:sp>
        <p:nvSpPr>
          <p:cNvPr id="202" name="Title">
            <a:extLst>
              <a:ext uri="{FF2B5EF4-FFF2-40B4-BE49-F238E27FC236}">
                <a16:creationId xmlns:a16="http://schemas.microsoft.com/office/drawing/2014/main" id="{1E99D823-3000-A6F4-ECDA-68CF5CA9F5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27849" y="1988995"/>
            <a:ext cx="5040000" cy="2088000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vert="horz" lIns="216000" tIns="36000" rIns="216000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 slide | Insert your headline in maximal 3 </a:t>
            </a:r>
            <a:br>
              <a:rPr lang="en-GB" dirty="0"/>
            </a:br>
            <a:r>
              <a:rPr lang="en-GB" dirty="0"/>
              <a:t>lines here</a:t>
            </a:r>
          </a:p>
        </p:txBody>
      </p:sp>
      <p:sp>
        <p:nvSpPr>
          <p:cNvPr id="203" name="Subtitle 2">
            <a:extLst>
              <a:ext uri="{FF2B5EF4-FFF2-40B4-BE49-F238E27FC236}">
                <a16:creationId xmlns:a16="http://schemas.microsoft.com/office/drawing/2014/main" id="{C5564466-9FD6-F382-3ABF-8D85A17A55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27848" y="4076996"/>
            <a:ext cx="5040000" cy="1007999"/>
          </a:xfrm>
          <a:prstGeom prst="rect">
            <a:avLst/>
          </a:prstGeom>
          <a:solidFill>
            <a:schemeClr val="bg1"/>
          </a:solidFill>
          <a:ln w="127">
            <a:solidFill>
              <a:schemeClr val="bg1"/>
            </a:solidFill>
          </a:ln>
        </p:spPr>
        <p:txBody>
          <a:bodyPr lIns="216000" rIns="21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latin typeface="+mn-lt"/>
              </a:defRPr>
            </a:lvl9pPr>
          </a:lstStyle>
          <a:p>
            <a:r>
              <a:rPr lang="en-GB" dirty="0"/>
              <a:t>Insert here your subtitle</a:t>
            </a:r>
          </a:p>
        </p:txBody>
      </p:sp>
    </p:spTree>
    <p:extLst>
      <p:ext uri="{BB962C8B-B14F-4D97-AF65-F5344CB8AC3E}">
        <p14:creationId xmlns:p14="http://schemas.microsoft.com/office/powerpoint/2010/main" val="1647893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652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image" Target="../media/image7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D58CA5-0856-2D4C-B8B0-62DB07D090F1}" type="datetimeFigureOut">
              <a:rPr lang="en-US" smtClean="0"/>
              <a:t>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E092A3-C138-8A47-8C92-5DB40FA2E46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9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543687" y="205664"/>
            <a:ext cx="366831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2" name="Titel Platzhalter 1"/>
          <p:cNvSpPr>
            <a:spLocks noGrp="1"/>
          </p:cNvSpPr>
          <p:nvPr>
            <p:ph type="title"/>
          </p:nvPr>
        </p:nvSpPr>
        <p:spPr>
          <a:xfrm>
            <a:off x="562713" y="411328"/>
            <a:ext cx="10691560" cy="75460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562455" y="1920593"/>
            <a:ext cx="10691708" cy="42523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err="1"/>
              <a:t>Copy</a:t>
            </a:r>
            <a:endParaRPr lang="de-DE" noProof="0" dirty="0"/>
          </a:p>
          <a:p>
            <a:pPr lvl="1"/>
            <a:r>
              <a:rPr lang="de-DE" noProof="0" dirty="0" err="1"/>
              <a:t>Copy</a:t>
            </a:r>
            <a:endParaRPr lang="de-DE" noProof="0" dirty="0"/>
          </a:p>
          <a:p>
            <a:pPr lvl="2"/>
            <a:r>
              <a:rPr lang="de-DE" noProof="0" dirty="0" err="1"/>
              <a:t>Copy</a:t>
            </a:r>
            <a:endParaRPr lang="de-DE" noProof="0" dirty="0"/>
          </a:p>
          <a:p>
            <a:pPr lvl="3"/>
            <a:r>
              <a:rPr lang="de-DE" noProof="0" dirty="0" err="1"/>
              <a:t>Copy</a:t>
            </a:r>
            <a:endParaRPr lang="de-DE" noProof="0" dirty="0"/>
          </a:p>
          <a:p>
            <a:pPr lvl="4"/>
            <a:r>
              <a:rPr lang="de-DE" noProof="0" dirty="0" err="1"/>
              <a:t>Copy</a:t>
            </a:r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62455" y="6377595"/>
            <a:ext cx="10691708" cy="26972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8915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740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76766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6815" indent="-306815" algn="l" defTabSz="1076766" rtl="0" eaLnBrk="1" latinLnBrk="0" hangingPunct="1">
        <a:lnSpc>
          <a:spcPct val="120000"/>
        </a:lnSpc>
        <a:spcBef>
          <a:spcPts val="0"/>
        </a:spcBef>
        <a:spcAft>
          <a:spcPts val="1380"/>
        </a:spcAft>
        <a:buFont typeface="Arial" panose="020B0604020202020204" pitchFamily="34" charset="0"/>
        <a:buChar char="»"/>
        <a:defRPr lang="de-DE" sz="2267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719557" indent="-306815" algn="l" defTabSz="1076766" rtl="0" eaLnBrk="1" latinLnBrk="0" hangingPunct="1">
        <a:lnSpc>
          <a:spcPct val="120000"/>
        </a:lnSpc>
        <a:spcBef>
          <a:spcPts val="0"/>
        </a:spcBef>
        <a:spcAft>
          <a:spcPts val="1380"/>
        </a:spcAft>
        <a:buFont typeface="Arial" panose="020B0604020202020204" pitchFamily="34" charset="0"/>
        <a:buChar char="»"/>
        <a:defRPr lang="de-DE" sz="2267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33678" indent="-314120" algn="l" defTabSz="1076766" rtl="0" eaLnBrk="1" latinLnBrk="0" hangingPunct="1">
        <a:lnSpc>
          <a:spcPct val="120000"/>
        </a:lnSpc>
        <a:spcBef>
          <a:spcPts val="0"/>
        </a:spcBef>
        <a:spcAft>
          <a:spcPts val="1380"/>
        </a:spcAft>
        <a:buFont typeface="Arial" panose="020B0604020202020204" pitchFamily="34" charset="0"/>
        <a:buChar char="»"/>
        <a:defRPr lang="de-DE" sz="226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40494" indent="-306815" algn="l" defTabSz="1076766" rtl="0" eaLnBrk="1" latinLnBrk="0" hangingPunct="1">
        <a:lnSpc>
          <a:spcPct val="120000"/>
        </a:lnSpc>
        <a:spcBef>
          <a:spcPts val="0"/>
        </a:spcBef>
        <a:spcAft>
          <a:spcPts val="1380"/>
        </a:spcAft>
        <a:buFont typeface="Arial" panose="020B0604020202020204" pitchFamily="34" charset="0"/>
        <a:buChar char="»"/>
        <a:defRPr lang="de-DE" sz="2267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647311" indent="-306815" algn="l" defTabSz="1076766" rtl="0" eaLnBrk="1" latinLnBrk="0" hangingPunct="1">
        <a:lnSpc>
          <a:spcPct val="120000"/>
        </a:lnSpc>
        <a:spcBef>
          <a:spcPts val="0"/>
        </a:spcBef>
        <a:spcAft>
          <a:spcPts val="1380"/>
        </a:spcAft>
        <a:buFont typeface="Arial" panose="020B0604020202020204" pitchFamily="34" charset="0"/>
        <a:buChar char="»"/>
        <a:defRPr lang="de-DE" sz="22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961110" indent="-269193" algn="l" defTabSz="1076766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499491" indent="-269193" algn="l" defTabSz="1076766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4037875" indent="-269193" algn="l" defTabSz="1076766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576259" indent="-269193" algn="l" defTabSz="1076766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38383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76766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15152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53534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91917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30301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68683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07067" algn="l" defTabSz="107676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72">
          <p15:clr>
            <a:srgbClr val="F26B43"/>
          </p15:clr>
        </p15:guide>
        <p15:guide id="1" pos="2857">
          <p15:clr>
            <a:srgbClr val="F26B43"/>
          </p15:clr>
        </p15:guide>
        <p15:guide id="2" pos="272">
          <p15:clr>
            <a:srgbClr val="F26B43"/>
          </p15:clr>
        </p15:guide>
        <p15:guide id="3" orient="horz" pos="4218">
          <p15:clr>
            <a:srgbClr val="A4A3A4"/>
          </p15:clr>
        </p15:guide>
        <p15:guide id="4" pos="5443">
          <p15:clr>
            <a:srgbClr val="F26B43"/>
          </p15:clr>
        </p15:guide>
        <p15:guide id="5" orient="horz" pos="4399">
          <p15:clr>
            <a:srgbClr val="A4A3A4"/>
          </p15:clr>
        </p15:guide>
        <p15:guide id="6" pos="5760">
          <p15:clr>
            <a:srgbClr val="A4A3A4"/>
          </p15:clr>
        </p15:guide>
        <p15:guide id="7" pos="5579">
          <p15:clr>
            <a:srgbClr val="A4A3A4"/>
          </p15:clr>
        </p15:guide>
        <p15:guide id="8" orient="horz" pos="4082">
          <p15:clr>
            <a:srgbClr val="F26B43"/>
          </p15:clr>
        </p15:guide>
        <p15:guide id="9" orient="horz" pos="1270">
          <p15:clr>
            <a:srgbClr val="F26B43"/>
          </p15:clr>
        </p15:guide>
        <p15:guide id="10" orient="horz" pos="1678">
          <p15:clr>
            <a:srgbClr val="A4A3A4"/>
          </p15:clr>
        </p15:guide>
        <p15:guide id="11" pos="2744">
          <p15:clr>
            <a:srgbClr val="A4A3A4"/>
          </p15:clr>
        </p15:guide>
        <p15:guide id="12" pos="2971">
          <p15:clr>
            <a:srgbClr val="A4A3A4"/>
          </p15:clr>
        </p15:guide>
        <p15:guide id="13" orient="horz" pos="2676">
          <p15:clr>
            <a:srgbClr val="A4A3A4"/>
          </p15:clr>
        </p15:guide>
        <p15:guide id="14" orient="horz" pos="2562">
          <p15:clr>
            <a:srgbClr val="A4A3A4"/>
          </p15:clr>
        </p15:guide>
        <p15:guide id="15" orient="horz" pos="2789">
          <p15:clr>
            <a:srgbClr val="A4A3A4"/>
          </p15:clr>
        </p15:guide>
        <p15:guide id="16" orient="horz" pos="3651">
          <p15:clr>
            <a:srgbClr val="A4A3A4"/>
          </p15:clr>
        </p15:guide>
        <p15:guide id="17" orient="horz" pos="136">
          <p15:clr>
            <a:srgbClr val="A4A3A4"/>
          </p15:clr>
        </p15:guide>
        <p15:guide id="19" pos="1134">
          <p15:clr>
            <a:srgbClr val="A4A3A4"/>
          </p15:clr>
        </p15:guide>
        <p15:guide id="20" pos="1995">
          <p15:clr>
            <a:srgbClr val="A4A3A4"/>
          </p15:clr>
        </p15:guide>
        <p15:guide id="21" pos="3719">
          <p15:clr>
            <a:srgbClr val="A4A3A4"/>
          </p15:clr>
        </p15:guide>
        <p15:guide id="22" pos="4581">
          <p15:clr>
            <a:srgbClr val="A4A3A4"/>
          </p15:clr>
        </p15:guide>
        <p15:guide id="23" orient="horz" pos="7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720169" y="205665"/>
            <a:ext cx="275235" cy="20566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57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8F31E5E0-0773-4EAC-84ED-10D819FD948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2" name="Titel Platzhalter 1"/>
          <p:cNvSpPr>
            <a:spLocks noGrp="1"/>
          </p:cNvSpPr>
          <p:nvPr>
            <p:ph type="title"/>
          </p:nvPr>
        </p:nvSpPr>
        <p:spPr>
          <a:xfrm>
            <a:off x="402268" y="411330"/>
            <a:ext cx="11112231" cy="8907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ct val="100000"/>
              </a:lnSpc>
            </a:pPr>
            <a:r>
              <a:rPr lang="de-DE" noProof="0" dirty="0"/>
              <a:t>Mas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402268" y="1920543"/>
            <a:ext cx="9261201" cy="4252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52547" lvl="0" indent="-252547"/>
            <a:r>
              <a:rPr lang="de-DE" dirty="0"/>
              <a:t>Text, 20pt</a:t>
            </a:r>
          </a:p>
          <a:p>
            <a:pPr marL="514166" lvl="1" indent="-261620"/>
            <a:r>
              <a:rPr lang="de-DE" dirty="0"/>
              <a:t>Bullet</a:t>
            </a:r>
          </a:p>
          <a:p>
            <a:pPr marL="766712" lvl="2" indent="-252547"/>
            <a:r>
              <a:rPr lang="de-DE" dirty="0"/>
              <a:t>Bullet</a:t>
            </a:r>
          </a:p>
          <a:p>
            <a:pPr marL="1028332" lvl="3" indent="-261620"/>
            <a:r>
              <a:rPr lang="de-DE" dirty="0"/>
              <a:t>Bullet</a:t>
            </a:r>
          </a:p>
          <a:p>
            <a:pPr marL="1280878" lvl="4" indent="-252547"/>
            <a:r>
              <a:rPr lang="de-DE" dirty="0"/>
              <a:t>Bulle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02267" y="6382429"/>
            <a:ext cx="11112231" cy="26471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ource:</a:t>
            </a:r>
          </a:p>
          <a:p>
            <a:r>
              <a:rPr lang="de-DE" dirty="0"/>
              <a:t>Base: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28"/>
          <a:stretch/>
        </p:blipFill>
        <p:spPr>
          <a:xfrm>
            <a:off x="11664371" y="6297310"/>
            <a:ext cx="385899" cy="41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779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39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  <p:sldLayoutId id="2147483733" r:id="rId38"/>
    <p:sldLayoutId id="2147483734" r:id="rId39"/>
    <p:sldLayoutId id="2147483735" r:id="rId40"/>
    <p:sldLayoutId id="2147483736" r:id="rId41"/>
    <p:sldLayoutId id="2147483737" r:id="rId42"/>
  </p:sldLayoutIdLst>
  <p:hf sldNum="0" hdr="0" dt="0"/>
  <p:txStyles>
    <p:titleStyle>
      <a:lvl1pPr algn="l" defTabSz="1219194" rtl="0" eaLnBrk="1" latinLnBrk="0" hangingPunct="1">
        <a:lnSpc>
          <a:spcPct val="120000"/>
        </a:lnSpc>
        <a:spcBef>
          <a:spcPct val="0"/>
        </a:spcBef>
        <a:buNone/>
        <a:defRPr lang="de-DE" sz="3048" b="1" kern="1200" cap="all" spc="-191" baseline="0" noProof="0" dirty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54058" indent="-254058" algn="l" defTabSz="1219194" rtl="0" eaLnBrk="1" latinLnBrk="0" hangingPunct="1">
        <a:lnSpc>
          <a:spcPct val="120000"/>
        </a:lnSpc>
        <a:spcBef>
          <a:spcPts val="0"/>
        </a:spcBef>
        <a:spcAft>
          <a:spcPts val="1143"/>
        </a:spcAft>
        <a:buFont typeface="Arial" panose="020B0604020202020204" pitchFamily="34" charset="0"/>
        <a:buChar char="»"/>
        <a:defRPr lang="de-DE" sz="1905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09630" indent="-255571" algn="l" defTabSz="1219194" rtl="0" eaLnBrk="1" latinLnBrk="0" hangingPunct="1">
        <a:lnSpc>
          <a:spcPct val="120000"/>
        </a:lnSpc>
        <a:spcBef>
          <a:spcPts val="0"/>
        </a:spcBef>
        <a:spcAft>
          <a:spcPts val="1143"/>
        </a:spcAft>
        <a:buFont typeface="Arial" panose="020B0604020202020204" pitchFamily="34" charset="0"/>
        <a:buChar char="»"/>
        <a:defRPr lang="de-DE" sz="1905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3688" indent="-254058" algn="l" defTabSz="1219194" rtl="0" eaLnBrk="1" latinLnBrk="0" hangingPunct="1">
        <a:lnSpc>
          <a:spcPct val="120000"/>
        </a:lnSpc>
        <a:spcBef>
          <a:spcPts val="0"/>
        </a:spcBef>
        <a:spcAft>
          <a:spcPts val="1143"/>
        </a:spcAft>
        <a:buFont typeface="Arial" panose="020B0604020202020204" pitchFamily="34" charset="0"/>
        <a:buChar char="»"/>
        <a:defRPr lang="de-DE" sz="1905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26820" indent="-263132" algn="l" defTabSz="1219194" rtl="0" eaLnBrk="1" latinLnBrk="0" hangingPunct="1">
        <a:lnSpc>
          <a:spcPct val="120000"/>
        </a:lnSpc>
        <a:spcBef>
          <a:spcPts val="0"/>
        </a:spcBef>
        <a:spcAft>
          <a:spcPts val="1143"/>
        </a:spcAft>
        <a:buFont typeface="Arial" panose="020B0604020202020204" pitchFamily="34" charset="0"/>
        <a:buChar char="»"/>
        <a:defRPr lang="de-DE" sz="1905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282390" indent="-255571" algn="l" defTabSz="1219194" rtl="0" eaLnBrk="1" latinLnBrk="0" hangingPunct="1">
        <a:lnSpc>
          <a:spcPct val="120000"/>
        </a:lnSpc>
        <a:spcBef>
          <a:spcPts val="0"/>
        </a:spcBef>
        <a:spcAft>
          <a:spcPts val="1143"/>
        </a:spcAft>
        <a:buFont typeface="Arial" panose="020B0604020202020204" pitchFamily="34" charset="0"/>
        <a:buChar char="»"/>
        <a:defRPr lang="de-DE" sz="1905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782" indent="-304799" algn="l" defTabSz="12191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79" indent="-304799" algn="l" defTabSz="12191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975" indent="-304799" algn="l" defTabSz="12191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572" indent="-304799" algn="l" defTabSz="1219194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97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94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91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87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85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81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76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74" algn="l" defTabSz="12191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72">
          <p15:clr>
            <a:srgbClr val="F26B43"/>
          </p15:clr>
        </p15:guide>
        <p15:guide id="1" pos="3940">
          <p15:clr>
            <a:srgbClr val="F26B43"/>
          </p15:clr>
        </p15:guide>
        <p15:guide id="2" pos="266">
          <p15:clr>
            <a:srgbClr val="F26B43"/>
          </p15:clr>
        </p15:guide>
        <p15:guide id="3" orient="horz" pos="4218">
          <p15:clr>
            <a:srgbClr val="A4A3A4"/>
          </p15:clr>
        </p15:guide>
        <p15:guide id="5" orient="horz" pos="4399">
          <p15:clr>
            <a:srgbClr val="A4A3A4"/>
          </p15:clr>
        </p15:guide>
        <p15:guide id="6" pos="7932">
          <p15:clr>
            <a:srgbClr val="A4A3A4"/>
          </p15:clr>
        </p15:guide>
        <p15:guide id="7" pos="7750">
          <p15:clr>
            <a:srgbClr val="A4A3A4"/>
          </p15:clr>
        </p15:guide>
        <p15:guide id="8" orient="horz" pos="4082">
          <p15:clr>
            <a:srgbClr val="F26B43"/>
          </p15:clr>
        </p15:guide>
        <p15:guide id="9" orient="horz" pos="1270">
          <p15:clr>
            <a:srgbClr val="F26B43"/>
          </p15:clr>
        </p15:guide>
        <p15:guide id="10" orient="horz" pos="1701">
          <p15:clr>
            <a:srgbClr val="A4A3A4"/>
          </p15:clr>
        </p15:guide>
        <p15:guide id="12" pos="4054">
          <p15:clr>
            <a:srgbClr val="A4A3A4"/>
          </p15:clr>
        </p15:guide>
        <p15:guide id="13" orient="horz" pos="2676">
          <p15:clr>
            <a:srgbClr val="A4A3A4"/>
          </p15:clr>
        </p15:guide>
        <p15:guide id="14" orient="horz" pos="2562">
          <p15:clr>
            <a:srgbClr val="A4A3A4"/>
          </p15:clr>
        </p15:guide>
        <p15:guide id="15" orient="horz" pos="2789">
          <p15:clr>
            <a:srgbClr val="A4A3A4"/>
          </p15:clr>
        </p15:guide>
        <p15:guide id="16" orient="horz" pos="3651">
          <p15:clr>
            <a:srgbClr val="A4A3A4"/>
          </p15:clr>
        </p15:guide>
        <p15:guide id="17" orient="horz" pos="136">
          <p15:clr>
            <a:srgbClr val="A4A3A4"/>
          </p15:clr>
        </p15:guide>
        <p15:guide id="18" orient="horz" pos="861">
          <p15:clr>
            <a:srgbClr val="F26B43"/>
          </p15:clr>
        </p15:guide>
        <p15:guide id="22" pos="7614">
          <p15:clr>
            <a:srgbClr val="F26B43"/>
          </p15:clr>
        </p15:guide>
        <p15:guide id="26" pos="1491">
          <p15:clr>
            <a:srgbClr val="A4A3A4"/>
          </p15:clr>
        </p15:guide>
        <p15:guide id="27" pos="2716">
          <p15:clr>
            <a:srgbClr val="A4A3A4"/>
          </p15:clr>
        </p15:guide>
        <p15:guide id="28" pos="5165">
          <p15:clr>
            <a:srgbClr val="A4A3A4"/>
          </p15:clr>
        </p15:guide>
        <p15:guide id="29" pos="6390">
          <p15:clr>
            <a:srgbClr val="A4A3A4"/>
          </p15:clr>
        </p15:guide>
        <p15:guide id="30" pos="3827">
          <p15:clr>
            <a:srgbClr val="A4A3A4"/>
          </p15:clr>
        </p15:guide>
        <p15:guide id="31" pos="62">
          <p15:clr>
            <a:srgbClr val="A4A3A4"/>
          </p15:clr>
        </p15:guide>
        <p15:guide id="32" orient="horz" pos="68">
          <p15:clr>
            <a:srgbClr val="A4A3A4"/>
          </p15:clr>
        </p15:guide>
        <p15:guide id="33" pos="8000">
          <p15:clr>
            <a:srgbClr val="A4A3A4"/>
          </p15:clr>
        </p15:guide>
        <p15:guide id="34" orient="horz" pos="4467">
          <p15:clr>
            <a:srgbClr val="A4A3A4"/>
          </p15:clr>
        </p15:guide>
        <p15:guide id="35" orient="horz" pos="2131">
          <p15:clr>
            <a:srgbClr val="A4A3A4"/>
          </p15:clr>
        </p15:guide>
        <p15:guide id="36" orient="horz" pos="322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814B27-CA8C-EB6E-E9F3-02F7F24C0A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814B27-CA8C-EB6E-E9F3-02F7F24C0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o">
            <a:extLst>
              <a:ext uri="{FF2B5EF4-FFF2-40B4-BE49-F238E27FC236}">
                <a16:creationId xmlns:a16="http://schemas.microsoft.com/office/drawing/2014/main" id="{BE1708DE-6099-5FD9-C750-7BE438A938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352584" y="6525344"/>
            <a:ext cx="504056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r"/>
            <a:fld id="{6406CC8F-3850-4EAA-BC31-CAF984364F05}" type="slidenum">
              <a:rPr lang="de-DE" sz="900" smtClean="0">
                <a:solidFill>
                  <a:schemeClr val="tx1"/>
                </a:solidFill>
              </a:rPr>
              <a:t>‹N›</a:t>
            </a:fld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48" name="Title">
            <a:extLst>
              <a:ext uri="{FF2B5EF4-FFF2-40B4-BE49-F238E27FC236}">
                <a16:creationId xmlns:a16="http://schemas.microsoft.com/office/drawing/2014/main" id="{A14BC77E-A3CA-C648-81BE-615FA97935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5360" y="260648"/>
            <a:ext cx="864095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Insert your headline in </a:t>
            </a:r>
            <a:r>
              <a:rPr lang="en-GB" dirty="0" err="1"/>
              <a:t>Lato</a:t>
            </a:r>
            <a:r>
              <a:rPr lang="en-GB" dirty="0"/>
              <a:t> Heavy 24 </a:t>
            </a:r>
            <a:r>
              <a:rPr lang="en-GB" dirty="0" err="1"/>
              <a:t>pt</a:t>
            </a:r>
            <a:r>
              <a:rPr lang="en-GB" dirty="0"/>
              <a:t> here</a:t>
            </a:r>
          </a:p>
        </p:txBody>
      </p:sp>
      <p:sp>
        <p:nvSpPr>
          <p:cNvPr id="49" name="Content">
            <a:extLst>
              <a:ext uri="{FF2B5EF4-FFF2-40B4-BE49-F238E27FC236}">
                <a16:creationId xmlns:a16="http://schemas.microsoft.com/office/drawing/2014/main" id="{7CB38B8D-13E9-EA42-A995-D2944436FF69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5361" y="2060575"/>
            <a:ext cx="11521280" cy="4032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Insert your copy in </a:t>
            </a:r>
            <a:r>
              <a:rPr lang="en-US" dirty="0" err="1"/>
              <a:t>Lato</a:t>
            </a:r>
            <a:r>
              <a:rPr lang="en-US" dirty="0"/>
              <a:t> 16 </a:t>
            </a:r>
            <a:r>
              <a:rPr lang="en-US" dirty="0" err="1"/>
              <a:t>pt</a:t>
            </a:r>
            <a:r>
              <a:rPr lang="en-US" dirty="0"/>
              <a:t> or 12 </a:t>
            </a:r>
            <a:r>
              <a:rPr lang="en-US" dirty="0" err="1"/>
              <a:t>pt</a:t>
            </a:r>
            <a:r>
              <a:rPr lang="en-US" dirty="0"/>
              <a:t> here | Use the function “Increase List level” for text levels on Tab HOME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45" name="Date Placeholder 27">
            <a:extLst>
              <a:ext uri="{FF2B5EF4-FFF2-40B4-BE49-F238E27FC236}">
                <a16:creationId xmlns:a16="http://schemas.microsoft.com/office/drawing/2014/main" id="{3AA4ADB9-8EF9-8848-9108-683F87BC1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35360" y="6525000"/>
            <a:ext cx="1152128" cy="144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7/26/2022</a:t>
            </a:r>
            <a:endParaRPr lang="en-GB" dirty="0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E43D1D2F-C94F-E5E5-9E82-AFE333CFF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52000" y="6957393"/>
            <a:ext cx="10584560" cy="72007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ctr"/>
          <a:lstStyle>
            <a:lvl1pPr algn="l">
              <a:defRPr sz="100"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r>
              <a:rPr lang="de-DE"/>
              <a:t>Der Konsument nach Corona und Consumer Voice</a:t>
            </a:r>
            <a:endParaRPr lang="de-DE" dirty="0"/>
          </a:p>
        </p:txBody>
      </p:sp>
      <p:sp>
        <p:nvSpPr>
          <p:cNvPr id="7" name="No">
            <a:extLst>
              <a:ext uri="{FF2B5EF4-FFF2-40B4-BE49-F238E27FC236}">
                <a16:creationId xmlns:a16="http://schemas.microsoft.com/office/drawing/2014/main" id="{DF883388-204C-EF6A-0E4E-0DBDCD4BD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208568" y="6957393"/>
            <a:ext cx="432048" cy="72008"/>
          </a:xfrm>
          <a:prstGeom prst="rect">
            <a:avLst/>
          </a:prstGeom>
          <a:ln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ctr"/>
          <a:lstStyle>
            <a:lvl1pPr algn="r">
              <a:defRPr sz="100"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fld id="{CAEA825B-D749-4F0A-886E-8D45A39EAF2A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640" name="client logo" hidden="1">
            <a:extLst>
              <a:ext uri="{FF2B5EF4-FFF2-40B4-BE49-F238E27FC236}">
                <a16:creationId xmlns:a16="http://schemas.microsoft.com/office/drawing/2014/main" id="{FE3648E0-24F0-7AB5-BF8B-38C5AED2AAB0}"/>
              </a:ext>
            </a:extLst>
          </p:cNvPr>
          <p:cNvSpPr/>
          <p:nvPr userDrawn="1"/>
        </p:nvSpPr>
        <p:spPr>
          <a:xfrm>
            <a:off x="8976320" y="333000"/>
            <a:ext cx="1728192" cy="575720"/>
          </a:xfrm>
          <a:prstGeom prst="rect">
            <a:avLst/>
          </a:prstGeom>
          <a:solidFill>
            <a:srgbClr val="B3B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00000"/>
              </a:lnSpc>
            </a:pPr>
            <a:r>
              <a:rPr lang="en-US" sz="1000" b="1" dirty="0">
                <a:solidFill>
                  <a:srgbClr val="676A6D"/>
                </a:solidFill>
              </a:rPr>
              <a:t>Client logo</a:t>
            </a:r>
          </a:p>
          <a:p>
            <a:pPr algn="ctr">
              <a:lnSpc>
                <a:spcPct val="100000"/>
              </a:lnSpc>
            </a:pPr>
            <a:r>
              <a:rPr lang="en-US" sz="700" dirty="0">
                <a:solidFill>
                  <a:srgbClr val="676A6D"/>
                </a:solidFill>
              </a:rPr>
              <a:t>Remove this and the line (on the right) from slide master if not needed</a:t>
            </a:r>
          </a:p>
        </p:txBody>
      </p:sp>
      <p:cxnSp>
        <p:nvCxnSpPr>
          <p:cNvPr id="641" name="Straight Connector 49" hidden="1">
            <a:extLst>
              <a:ext uri="{FF2B5EF4-FFF2-40B4-BE49-F238E27FC236}">
                <a16:creationId xmlns:a16="http://schemas.microsoft.com/office/drawing/2014/main" id="{5EEB094E-97CC-87E9-FDE7-499A1C43C038}"/>
              </a:ext>
            </a:extLst>
          </p:cNvPr>
          <p:cNvCxnSpPr>
            <a:cxnSpLocks/>
          </p:cNvCxnSpPr>
          <p:nvPr userDrawn="1"/>
        </p:nvCxnSpPr>
        <p:spPr>
          <a:xfrm>
            <a:off x="10992544" y="332656"/>
            <a:ext cx="0" cy="57606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202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704" r:id="rId2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Char char="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100000"/>
        </a:lnSpc>
        <a:spcBef>
          <a:spcPts val="1000"/>
        </a:spcBef>
        <a:buClrTx/>
        <a:buSzPct val="100000"/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000"/>
        </a:spcBef>
        <a:buClrTx/>
        <a:buSzPct val="8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ClrTx/>
        <a:buFont typeface="Wingdings 2" panose="05020102010507070707" pitchFamily="18" charset="2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66700" indent="-266700" algn="l" defTabSz="914400" rtl="0" eaLnBrk="1" latinLnBrk="0" hangingPunct="1">
        <a:lnSpc>
          <a:spcPct val="100000"/>
        </a:lnSpc>
        <a:spcBef>
          <a:spcPts val="600"/>
        </a:spcBef>
        <a:buClrTx/>
        <a:buSzPct val="80000"/>
        <a:buFont typeface="Wingdings" panose="05000000000000000000" pitchFamily="2" charset="2"/>
        <a:buChar char="n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542925" indent="-276225" algn="l" defTabSz="914400" rtl="0" eaLnBrk="1" latinLnBrk="0" hangingPunct="1">
        <a:lnSpc>
          <a:spcPct val="100000"/>
        </a:lnSpc>
        <a:spcBef>
          <a:spcPts val="600"/>
        </a:spcBef>
        <a:buClrTx/>
        <a:buSzPct val="80000"/>
        <a:buFont typeface="Wingdings" panose="05000000000000000000" pitchFamily="2" charset="2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809625" indent="-2667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Courier New" panose="02070309020205020404" pitchFamily="49" charset="0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803275" indent="-268288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Courier New" panose="02070309020205020404" pitchFamily="49" charset="0"/>
        <a:buChar char="o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24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jpg"/><Relationship Id="rId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24.png"/><Relationship Id="rId7" Type="http://schemas.openxmlformats.org/officeDocument/2006/relationships/image" Target="../media/image6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3.pn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7.xml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7.xml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4.png"/><Relationship Id="rId7" Type="http://schemas.openxmlformats.org/officeDocument/2006/relationships/image" Target="../media/image29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37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g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39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g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g"/><Relationship Id="rId5" Type="http://schemas.openxmlformats.org/officeDocument/2006/relationships/image" Target="../media/image40.jpg"/><Relationship Id="rId4" Type="http://schemas.openxmlformats.org/officeDocument/2006/relationships/image" Target="../media/image3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5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mollusk&#10;&#10;Description automatically generated">
            <a:extLst>
              <a:ext uri="{FF2B5EF4-FFF2-40B4-BE49-F238E27FC236}">
                <a16:creationId xmlns:a16="http://schemas.microsoft.com/office/drawing/2014/main" id="{C94ED7C8-778F-224A-EB15-7A83DBBEA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640" y="1556184"/>
            <a:ext cx="3046719" cy="3745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22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015" y="365125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I 10 BEST BRANDS DEL CLUB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20" name="Sottotitolo 5">
            <a:extLst>
              <a:ext uri="{FF2B5EF4-FFF2-40B4-BE49-F238E27FC236}">
                <a16:creationId xmlns:a16="http://schemas.microsoft.com/office/drawing/2014/main" id="{365C9AF3-F81A-47F0-922D-3436AE3A949A}"/>
              </a:ext>
            </a:extLst>
          </p:cNvPr>
          <p:cNvSpPr txBox="1">
            <a:spLocks/>
          </p:cNvSpPr>
          <p:nvPr/>
        </p:nvSpPr>
        <p:spPr>
          <a:xfrm>
            <a:off x="1886425" y="1974709"/>
            <a:ext cx="3194204" cy="3675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buClr>
                <a:srgbClr val="E55A00"/>
              </a:buClr>
            </a:pPr>
            <a:r>
              <a:rPr lang="it-IT" sz="1500" i="1" dirty="0">
                <a:solidFill>
                  <a:srgbClr val="FFFFFF"/>
                </a:solidFill>
                <a:latin typeface="Lato"/>
              </a:rPr>
              <a:t>Best Product Brand - Top 5</a:t>
            </a:r>
          </a:p>
        </p:txBody>
      </p:sp>
      <p:sp>
        <p:nvSpPr>
          <p:cNvPr id="21" name="Sottotitolo 5">
            <a:extLst>
              <a:ext uri="{FF2B5EF4-FFF2-40B4-BE49-F238E27FC236}">
                <a16:creationId xmlns:a16="http://schemas.microsoft.com/office/drawing/2014/main" id="{A557E352-EF55-4957-BAA0-0C36264F0ECC}"/>
              </a:ext>
            </a:extLst>
          </p:cNvPr>
          <p:cNvSpPr txBox="1">
            <a:spLocks/>
          </p:cNvSpPr>
          <p:nvPr/>
        </p:nvSpPr>
        <p:spPr>
          <a:xfrm>
            <a:off x="5019591" y="2043589"/>
            <a:ext cx="3194204" cy="3675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buClr>
                <a:srgbClr val="E55A00"/>
              </a:buClr>
            </a:pPr>
            <a:r>
              <a:rPr lang="it-IT" sz="1500" i="1" dirty="0">
                <a:solidFill>
                  <a:srgbClr val="FFFFFF"/>
                </a:solidFill>
                <a:latin typeface="Lato"/>
              </a:rPr>
              <a:t>Best Growth Brand - Top 5</a:t>
            </a: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8956112D-28E5-9A4B-D122-BC5C293094BE}"/>
              </a:ext>
            </a:extLst>
          </p:cNvPr>
          <p:cNvGrpSpPr/>
          <p:nvPr/>
        </p:nvGrpSpPr>
        <p:grpSpPr>
          <a:xfrm>
            <a:off x="628371" y="2014184"/>
            <a:ext cx="11410222" cy="2170425"/>
            <a:chOff x="839416" y="1914534"/>
            <a:chExt cx="11410222" cy="2170425"/>
          </a:xfrm>
        </p:grpSpPr>
        <p:pic>
          <p:nvPicPr>
            <p:cNvPr id="22" name="Immagine 20">
              <a:extLst>
                <a:ext uri="{FF2B5EF4-FFF2-40B4-BE49-F238E27FC236}">
                  <a16:creationId xmlns:a16="http://schemas.microsoft.com/office/drawing/2014/main" id="{33BAD545-4C1F-4209-9F54-E527EE934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59789" y="2568385"/>
              <a:ext cx="960375" cy="513000"/>
            </a:xfrm>
            <a:prstGeom prst="rect">
              <a:avLst/>
            </a:prstGeom>
          </p:spPr>
        </p:pic>
        <p:pic>
          <p:nvPicPr>
            <p:cNvPr id="25" name="Immagine 23">
              <a:extLst>
                <a:ext uri="{FF2B5EF4-FFF2-40B4-BE49-F238E27FC236}">
                  <a16:creationId xmlns:a16="http://schemas.microsoft.com/office/drawing/2014/main" id="{FC41886E-AF32-4323-8753-1C7B8123C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7337" y="3252775"/>
              <a:ext cx="925280" cy="270000"/>
            </a:xfrm>
            <a:prstGeom prst="rect">
              <a:avLst/>
            </a:prstGeom>
          </p:spPr>
        </p:pic>
        <p:sp>
          <p:nvSpPr>
            <p:cNvPr id="26" name="Sottotitolo 5">
              <a:extLst>
                <a:ext uri="{FF2B5EF4-FFF2-40B4-BE49-F238E27FC236}">
                  <a16:creationId xmlns:a16="http://schemas.microsoft.com/office/drawing/2014/main" id="{795EF7C4-75ED-48B9-BED7-369BBD3E6737}"/>
                </a:ext>
              </a:extLst>
            </p:cNvPr>
            <p:cNvSpPr txBox="1">
              <a:spLocks/>
            </p:cNvSpPr>
            <p:nvPr/>
          </p:nvSpPr>
          <p:spPr>
            <a:xfrm>
              <a:off x="945191" y="1995336"/>
              <a:ext cx="3194204" cy="367532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Lato" panose="020F0502020204030203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>
                  <a:srgbClr val="E55A00"/>
                </a:buClr>
              </a:pP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Best Product Brand</a:t>
              </a:r>
            </a:p>
          </p:txBody>
        </p:sp>
        <p:sp>
          <p:nvSpPr>
            <p:cNvPr id="27" name="Sottotitolo 5">
              <a:extLst>
                <a:ext uri="{FF2B5EF4-FFF2-40B4-BE49-F238E27FC236}">
                  <a16:creationId xmlns:a16="http://schemas.microsoft.com/office/drawing/2014/main" id="{2B8D10D4-F382-43DE-B295-70982BE4663D}"/>
                </a:ext>
              </a:extLst>
            </p:cNvPr>
            <p:cNvSpPr txBox="1">
              <a:spLocks/>
            </p:cNvSpPr>
            <p:nvPr/>
          </p:nvSpPr>
          <p:spPr>
            <a:xfrm>
              <a:off x="3596745" y="1999785"/>
              <a:ext cx="2211223" cy="367532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Lato" panose="020F0502020204030203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>
                  <a:srgbClr val="E55A00"/>
                </a:buClr>
              </a:pP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Best Growth Brand </a:t>
              </a:r>
            </a:p>
          </p:txBody>
        </p:sp>
        <p:sp>
          <p:nvSpPr>
            <p:cNvPr id="30" name="Rettangolo 41">
              <a:extLst>
                <a:ext uri="{FF2B5EF4-FFF2-40B4-BE49-F238E27FC236}">
                  <a16:creationId xmlns:a16="http://schemas.microsoft.com/office/drawing/2014/main" id="{7545D1F5-2AE2-4481-9402-C272383941B6}"/>
                </a:ext>
              </a:extLst>
            </p:cNvPr>
            <p:cNvSpPr/>
            <p:nvPr/>
          </p:nvSpPr>
          <p:spPr>
            <a:xfrm>
              <a:off x="3503712" y="1916832"/>
              <a:ext cx="2669834" cy="2168127"/>
            </a:xfrm>
            <a:prstGeom prst="rect">
              <a:avLst/>
            </a:prstGeom>
            <a:noFill/>
            <a:ln w="28575">
              <a:solidFill>
                <a:srgbClr val="DB3D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 defTabSz="685800">
                <a:lnSpc>
                  <a:spcPct val="125000"/>
                </a:lnSpc>
              </a:pPr>
              <a:endParaRPr lang="en-GB" sz="1200" dirty="0">
                <a:solidFill>
                  <a:srgbClr val="FFFFFF"/>
                </a:solidFill>
                <a:latin typeface="Lato"/>
              </a:endParaRPr>
            </a:p>
          </p:txBody>
        </p:sp>
        <p:sp>
          <p:nvSpPr>
            <p:cNvPr id="31" name="Rettangolo 42">
              <a:extLst>
                <a:ext uri="{FF2B5EF4-FFF2-40B4-BE49-F238E27FC236}">
                  <a16:creationId xmlns:a16="http://schemas.microsoft.com/office/drawing/2014/main" id="{DA3E7929-BA6D-4584-8222-524359D39ADE}"/>
                </a:ext>
              </a:extLst>
            </p:cNvPr>
            <p:cNvSpPr/>
            <p:nvPr/>
          </p:nvSpPr>
          <p:spPr>
            <a:xfrm>
              <a:off x="839416" y="1916832"/>
              <a:ext cx="2622332" cy="2168127"/>
            </a:xfrm>
            <a:prstGeom prst="rect">
              <a:avLst/>
            </a:prstGeom>
            <a:noFill/>
            <a:ln w="28575">
              <a:solidFill>
                <a:srgbClr val="DB3D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 defTabSz="685800">
                <a:lnSpc>
                  <a:spcPct val="125000"/>
                </a:lnSpc>
              </a:pPr>
              <a:endParaRPr lang="en-GB" sz="1200" dirty="0">
                <a:solidFill>
                  <a:srgbClr val="FFFFFF"/>
                </a:solidFill>
                <a:latin typeface="Lato"/>
              </a:endParaRPr>
            </a:p>
          </p:txBody>
        </p:sp>
        <p:sp>
          <p:nvSpPr>
            <p:cNvPr id="32" name="Rettangolo 41">
              <a:extLst>
                <a:ext uri="{FF2B5EF4-FFF2-40B4-BE49-F238E27FC236}">
                  <a16:creationId xmlns:a16="http://schemas.microsoft.com/office/drawing/2014/main" id="{E6CED71D-3EAE-4A73-A4D3-DCAD507984F8}"/>
                </a:ext>
              </a:extLst>
            </p:cNvPr>
            <p:cNvSpPr/>
            <p:nvPr/>
          </p:nvSpPr>
          <p:spPr>
            <a:xfrm>
              <a:off x="8976320" y="1914534"/>
              <a:ext cx="2669834" cy="2165153"/>
            </a:xfrm>
            <a:prstGeom prst="rect">
              <a:avLst/>
            </a:prstGeom>
            <a:noFill/>
            <a:ln w="28575">
              <a:solidFill>
                <a:srgbClr val="DB3D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 defTabSz="685800">
                <a:lnSpc>
                  <a:spcPct val="125000"/>
                </a:lnSpc>
              </a:pPr>
              <a:endParaRPr lang="en-GB" sz="1200" dirty="0">
                <a:solidFill>
                  <a:srgbClr val="FFFFFF"/>
                </a:solidFill>
                <a:latin typeface="Lato"/>
              </a:endParaRPr>
            </a:p>
          </p:txBody>
        </p:sp>
        <p:pic>
          <p:nvPicPr>
            <p:cNvPr id="34" name="Picture 4" descr="Samsung Logo | Storia e significato dell&amp;#39;emblema del marchio">
              <a:extLst>
                <a:ext uri="{FF2B5EF4-FFF2-40B4-BE49-F238E27FC236}">
                  <a16:creationId xmlns:a16="http://schemas.microsoft.com/office/drawing/2014/main" id="{23A93012-6B30-4795-95D5-AD5863895D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3857" y="2874775"/>
              <a:ext cx="916071" cy="513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Sottotitolo 5">
              <a:extLst>
                <a:ext uri="{FF2B5EF4-FFF2-40B4-BE49-F238E27FC236}">
                  <a16:creationId xmlns:a16="http://schemas.microsoft.com/office/drawing/2014/main" id="{20EA28B0-C219-48F6-AF19-A00976B40954}"/>
                </a:ext>
              </a:extLst>
            </p:cNvPr>
            <p:cNvSpPr txBox="1">
              <a:spLocks/>
            </p:cNvSpPr>
            <p:nvPr/>
          </p:nvSpPr>
          <p:spPr>
            <a:xfrm>
              <a:off x="9055434" y="2006669"/>
              <a:ext cx="3194204" cy="344866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Lato" panose="020F0502020204030203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>
                  <a:srgbClr val="E55A00"/>
                </a:buClr>
              </a:pP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Best </a:t>
              </a:r>
              <a:r>
                <a:rPr lang="it-IT" sz="1200" b="1" i="1" dirty="0" err="1">
                  <a:solidFill>
                    <a:srgbClr val="000000"/>
                  </a:solidFill>
                  <a:latin typeface="Lato"/>
                </a:rPr>
                <a:t>Sustainable</a:t>
              </a: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 Brand </a:t>
              </a:r>
            </a:p>
          </p:txBody>
        </p:sp>
        <p:sp>
          <p:nvSpPr>
            <p:cNvPr id="38" name="Sottotitolo 5">
              <a:extLst>
                <a:ext uri="{FF2B5EF4-FFF2-40B4-BE49-F238E27FC236}">
                  <a16:creationId xmlns:a16="http://schemas.microsoft.com/office/drawing/2014/main" id="{B8481F05-CBEB-429F-B658-E1247697FCED}"/>
                </a:ext>
              </a:extLst>
            </p:cNvPr>
            <p:cNvSpPr txBox="1">
              <a:spLocks/>
            </p:cNvSpPr>
            <p:nvPr/>
          </p:nvSpPr>
          <p:spPr>
            <a:xfrm>
              <a:off x="6312024" y="2012558"/>
              <a:ext cx="2211223" cy="367532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Lato" panose="020F0502020204030203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tx2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buClr>
                  <a:srgbClr val="E55A00"/>
                </a:buClr>
              </a:pP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Best </a:t>
              </a:r>
              <a:r>
                <a:rPr lang="it-IT" sz="1200" b="1" i="1" dirty="0" err="1">
                  <a:solidFill>
                    <a:srgbClr val="000000"/>
                  </a:solidFill>
                  <a:latin typeface="Lato"/>
                </a:rPr>
                <a:t>Phygital</a:t>
              </a:r>
              <a:r>
                <a:rPr lang="it-IT" sz="1200" b="1" i="1" dirty="0">
                  <a:solidFill>
                    <a:srgbClr val="000000"/>
                  </a:solidFill>
                  <a:latin typeface="Lato"/>
                </a:rPr>
                <a:t> Brand</a:t>
              </a:r>
            </a:p>
          </p:txBody>
        </p:sp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8BF9AC64-5CE8-E93D-886E-3EBDF53A9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96129" y="2427486"/>
              <a:ext cx="885000" cy="420654"/>
            </a:xfrm>
            <a:prstGeom prst="rect">
              <a:avLst/>
            </a:prstGeom>
          </p:spPr>
        </p:pic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37E7598E-47D3-3FA0-AE35-2D060BB7F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15326" y="3023937"/>
              <a:ext cx="875744" cy="249723"/>
            </a:xfrm>
            <a:prstGeom prst="rect">
              <a:avLst/>
            </a:prstGeom>
          </p:spPr>
        </p:pic>
        <p:pic>
          <p:nvPicPr>
            <p:cNvPr id="7" name="Immagine 6" descr="Immagine che contiene testo, clipart&#10;&#10;Descrizione generata automaticamente">
              <a:extLst>
                <a:ext uri="{FF2B5EF4-FFF2-40B4-BE49-F238E27FC236}">
                  <a16:creationId xmlns:a16="http://schemas.microsoft.com/office/drawing/2014/main" id="{6BA8809C-E980-A9DF-AA98-A877413B6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96129" y="3419046"/>
              <a:ext cx="821801" cy="485374"/>
            </a:xfrm>
            <a:prstGeom prst="rect">
              <a:avLst/>
            </a:prstGeom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FD52FC08-9D78-0F43-C192-BAFBF78A08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073858" y="2380090"/>
              <a:ext cx="916071" cy="513000"/>
            </a:xfrm>
            <a:prstGeom prst="rect">
              <a:avLst/>
            </a:prstGeom>
          </p:spPr>
        </p:pic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C3387AA6-1E29-71AA-7ADC-25EC27A46C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78721" y="3454859"/>
              <a:ext cx="1084813" cy="386609"/>
            </a:xfrm>
            <a:prstGeom prst="rect">
              <a:avLst/>
            </a:prstGeom>
          </p:spPr>
        </p:pic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D20C9ECC-DBC4-CED1-809B-FC4E50711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753238" y="2514792"/>
              <a:ext cx="1161485" cy="485347"/>
            </a:xfrm>
            <a:prstGeom prst="rect">
              <a:avLst/>
            </a:prstGeom>
          </p:spPr>
        </p:pic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2F7BCF1B-65F8-74A4-0410-A2ADE17CE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517646" y="3059710"/>
              <a:ext cx="1587181" cy="178176"/>
            </a:xfrm>
            <a:prstGeom prst="rect">
              <a:avLst/>
            </a:prstGeom>
          </p:spPr>
        </p:pic>
        <p:pic>
          <p:nvPicPr>
            <p:cNvPr id="14" name="Immagine 20">
              <a:extLst>
                <a:ext uri="{FF2B5EF4-FFF2-40B4-BE49-F238E27FC236}">
                  <a16:creationId xmlns:a16="http://schemas.microsoft.com/office/drawing/2014/main" id="{B99D472D-8AE9-AF19-C3D9-4FD3BC09C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853792" y="3374755"/>
              <a:ext cx="960375" cy="513000"/>
            </a:xfrm>
            <a:prstGeom prst="rect">
              <a:avLst/>
            </a:prstGeom>
          </p:spPr>
        </p:pic>
        <p:sp>
          <p:nvSpPr>
            <p:cNvPr id="17" name="Rettangolo 41">
              <a:extLst>
                <a:ext uri="{FF2B5EF4-FFF2-40B4-BE49-F238E27FC236}">
                  <a16:creationId xmlns:a16="http://schemas.microsoft.com/office/drawing/2014/main" id="{F1C0D703-5443-EBC4-8EE6-53ACA2DD2B9A}"/>
                </a:ext>
              </a:extLst>
            </p:cNvPr>
            <p:cNvSpPr/>
            <p:nvPr/>
          </p:nvSpPr>
          <p:spPr>
            <a:xfrm>
              <a:off x="6240803" y="1914534"/>
              <a:ext cx="2669834" cy="2165153"/>
            </a:xfrm>
            <a:prstGeom prst="rect">
              <a:avLst/>
            </a:prstGeom>
            <a:noFill/>
            <a:ln w="28575">
              <a:solidFill>
                <a:srgbClr val="DB3D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 defTabSz="685800">
                <a:lnSpc>
                  <a:spcPct val="125000"/>
                </a:lnSpc>
              </a:pPr>
              <a:endParaRPr lang="en-GB" sz="1200" dirty="0">
                <a:solidFill>
                  <a:srgbClr val="FFFFFF"/>
                </a:solidFill>
                <a:latin typeface="La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514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B86D742B-A54F-425E-B41D-2980BB89E1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6600" dirty="0">
                <a:latin typeface="Arial Black" panose="020B0A04020102020204" pitchFamily="34" charset="0"/>
              </a:rPr>
              <a:t>LE PRIME EVIDENZE</a:t>
            </a:r>
            <a:endParaRPr lang="en-US" sz="66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78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365125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ESSERE UN BEST BRAND OGGI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orgio Panariell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ottotitolo 5">
            <a:extLst>
              <a:ext uri="{FF2B5EF4-FFF2-40B4-BE49-F238E27FC236}">
                <a16:creationId xmlns:a16="http://schemas.microsoft.com/office/drawing/2014/main" id="{365C9AF3-F81A-47F0-922D-3436AE3A949A}"/>
              </a:ext>
            </a:extLst>
          </p:cNvPr>
          <p:cNvSpPr txBox="1">
            <a:spLocks/>
          </p:cNvSpPr>
          <p:nvPr/>
        </p:nvSpPr>
        <p:spPr>
          <a:xfrm>
            <a:off x="1886425" y="1974709"/>
            <a:ext cx="3194204" cy="3675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E55A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st Product Brand - Top 5</a:t>
            </a:r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B18D94FD-A9F6-6EF7-0B46-FB14FF7BD752}"/>
              </a:ext>
            </a:extLst>
          </p:cNvPr>
          <p:cNvSpPr/>
          <p:nvPr/>
        </p:nvSpPr>
        <p:spPr>
          <a:xfrm>
            <a:off x="695400" y="1929862"/>
            <a:ext cx="3240360" cy="315532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RILEVANZA</a:t>
            </a:r>
          </a:p>
          <a:p>
            <a:pPr algn="ctr"/>
            <a:r>
              <a:rPr lang="it-IT" sz="1200" dirty="0"/>
              <a:t>Perché la ricerca della sostenibilità non è solo un astratto principio etico dal quale trarre profitti, ma un valore concreto e rilevante per le persone.</a:t>
            </a:r>
            <a:endParaRPr lang="en-US" sz="1200" dirty="0"/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1794A143-D91C-CEB5-7B70-17DD10AE8B1B}"/>
              </a:ext>
            </a:extLst>
          </p:cNvPr>
          <p:cNvSpPr/>
          <p:nvPr/>
        </p:nvSpPr>
        <p:spPr>
          <a:xfrm>
            <a:off x="4079776" y="1929862"/>
            <a:ext cx="3240360" cy="315532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ASCOLTO</a:t>
            </a:r>
          </a:p>
          <a:p>
            <a:pPr algn="ctr"/>
            <a:r>
              <a:rPr lang="it-IT" sz="1200" dirty="0"/>
              <a:t>Perché non ti impone la propria visione del mondo ma ascolta e tiene conto delle esigenze e delle aspettative di tutti per adattare la propria offerta alle comunità e alle persone cui si rivolge.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76AC6C26-C82D-362D-F748-5EA16AAC8D91}"/>
              </a:ext>
            </a:extLst>
          </p:cNvPr>
          <p:cNvSpPr/>
          <p:nvPr/>
        </p:nvSpPr>
        <p:spPr>
          <a:xfrm>
            <a:off x="7506981" y="1974709"/>
            <a:ext cx="3240360" cy="315532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INTEGRITA’</a:t>
            </a:r>
          </a:p>
          <a:p>
            <a:pPr algn="ctr"/>
            <a:r>
              <a:rPr lang="it-IT" sz="1200" dirty="0"/>
              <a:t>Perché non si rinnega per piacerti ma resta sé stesso anche quando affronta contesti e luoghi diversi da quelli che gli sono abituali per non smettere di esserti vicino.</a:t>
            </a:r>
          </a:p>
        </p:txBody>
      </p:sp>
    </p:spTree>
    <p:extLst>
      <p:ext uri="{BB962C8B-B14F-4D97-AF65-F5344CB8AC3E}">
        <p14:creationId xmlns:p14="http://schemas.microsoft.com/office/powerpoint/2010/main" val="10702251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orgio Panariell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ottotitolo 5">
            <a:extLst>
              <a:ext uri="{FF2B5EF4-FFF2-40B4-BE49-F238E27FC236}">
                <a16:creationId xmlns:a16="http://schemas.microsoft.com/office/drawing/2014/main" id="{365C9AF3-F81A-47F0-922D-3436AE3A949A}"/>
              </a:ext>
            </a:extLst>
          </p:cNvPr>
          <p:cNvSpPr txBox="1">
            <a:spLocks/>
          </p:cNvSpPr>
          <p:nvPr/>
        </p:nvSpPr>
        <p:spPr>
          <a:xfrm>
            <a:off x="1886425" y="1974709"/>
            <a:ext cx="3194204" cy="3675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E55A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st Product Brand - Top 5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2480B8C-C16B-2095-B532-3051A08E6E0B}"/>
              </a:ext>
            </a:extLst>
          </p:cNvPr>
          <p:cNvSpPr txBox="1"/>
          <p:nvPr/>
        </p:nvSpPr>
        <p:spPr>
          <a:xfrm>
            <a:off x="2940330" y="1961557"/>
            <a:ext cx="6311340" cy="230832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DB3DAA"/>
            </a:solidFill>
          </a:ln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it-IT" sz="2400" dirty="0">
                <a:solidFill>
                  <a:schemeClr val="bg1"/>
                </a:solidFill>
              </a:rPr>
              <a:t>Perché un Best Brand si interessa alle persone</a:t>
            </a:r>
          </a:p>
          <a:p>
            <a:pPr marL="0" indent="0" algn="ctr">
              <a:buNone/>
            </a:pPr>
            <a:r>
              <a:rPr lang="it-IT" sz="2400" dirty="0">
                <a:solidFill>
                  <a:schemeClr val="bg1"/>
                </a:solidFill>
              </a:rPr>
              <a:t>e le considera sempre un fine, </a:t>
            </a:r>
          </a:p>
          <a:p>
            <a:pPr marL="0" indent="0" algn="ctr">
              <a:buNone/>
            </a:pPr>
            <a:r>
              <a:rPr lang="it-IT" sz="2400" dirty="0">
                <a:solidFill>
                  <a:schemeClr val="bg1"/>
                </a:solidFill>
              </a:rPr>
              <a:t>mai un mezzo per i propri interessi: </a:t>
            </a:r>
          </a:p>
          <a:p>
            <a:pPr marL="0" indent="0" algn="ctr">
              <a:buNone/>
            </a:pPr>
            <a:endParaRPr lang="it-IT" sz="24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it-IT" sz="2400" dirty="0">
                <a:solidFill>
                  <a:schemeClr val="bg1"/>
                </a:solidFill>
              </a:rPr>
              <a:t>proprio come un </a:t>
            </a:r>
          </a:p>
          <a:p>
            <a:pPr marL="0" indent="0" algn="ctr">
              <a:buNone/>
            </a:pPr>
            <a:r>
              <a:rPr lang="it-IT" sz="2400" b="1" dirty="0">
                <a:solidFill>
                  <a:schemeClr val="bg1"/>
                </a:solidFill>
              </a:rPr>
              <a:t>Best Friend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9508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365125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IL CONCEPT 2023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solidFill>
                  <a:schemeClr val="bg1"/>
                </a:solidFill>
              </a:rPr>
              <a:t>Giorgio Panariello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0568BFD0-12D3-92D0-F273-0064465156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738" b="51398"/>
          <a:stretch/>
        </p:blipFill>
        <p:spPr>
          <a:xfrm>
            <a:off x="832206" y="1424103"/>
            <a:ext cx="7111353" cy="4536812"/>
          </a:xfrm>
          <a:prstGeom prst="rect">
            <a:avLst/>
          </a:prstGeom>
          <a:ln w="28575">
            <a:noFill/>
          </a:ln>
        </p:spPr>
      </p:pic>
      <p:pic>
        <p:nvPicPr>
          <p:cNvPr id="4" name="Immagine 3" descr="Immagine che contiene testo&#10;&#10;Descrizione generata automaticamente">
            <a:extLst>
              <a:ext uri="{FF2B5EF4-FFF2-40B4-BE49-F238E27FC236}">
                <a16:creationId xmlns:a16="http://schemas.microsoft.com/office/drawing/2014/main" id="{FECF08D8-1CC6-2A07-FE6D-C6F8CADBF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7676" y="1321451"/>
            <a:ext cx="3213838" cy="47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990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CA84E8E7-BBDC-623E-1AB1-E8546B58D308}"/>
              </a:ext>
            </a:extLst>
          </p:cNvPr>
          <p:cNvSpPr/>
          <p:nvPr/>
        </p:nvSpPr>
        <p:spPr>
          <a:xfrm>
            <a:off x="479376" y="1989227"/>
            <a:ext cx="11017224" cy="3167965"/>
          </a:xfrm>
          <a:prstGeom prst="rect">
            <a:avLst/>
          </a:prstGeom>
          <a:solidFill>
            <a:schemeClr val="bg1"/>
          </a:solidFill>
          <a:ln w="19050"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365125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GRAZIE A CHI CI SUPPORTA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orgio Panariell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Sottotitolo 5">
            <a:extLst>
              <a:ext uri="{FF2B5EF4-FFF2-40B4-BE49-F238E27FC236}">
                <a16:creationId xmlns:a16="http://schemas.microsoft.com/office/drawing/2014/main" id="{365C9AF3-F81A-47F0-922D-3436AE3A949A}"/>
              </a:ext>
            </a:extLst>
          </p:cNvPr>
          <p:cNvSpPr txBox="1">
            <a:spLocks/>
          </p:cNvSpPr>
          <p:nvPr/>
        </p:nvSpPr>
        <p:spPr>
          <a:xfrm>
            <a:off x="1886425" y="1974709"/>
            <a:ext cx="3194204" cy="3675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Lato" panose="020F0502020204030203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E55A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it-IT" sz="15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st Product Brand - Top 5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8215762D-C6A2-9129-6C65-1274AC268B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16769" y="2423261"/>
            <a:ext cx="4149982" cy="217874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BB531AAD-B7F8-34D8-18BE-939763E209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6932" y="2768578"/>
            <a:ext cx="1320844" cy="132084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2D03F5F2-F7CB-4DB6-4611-5FE39AD80D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2730" y="2752067"/>
            <a:ext cx="2113350" cy="1353865"/>
          </a:xfrm>
          <a:prstGeom prst="rect">
            <a:avLst/>
          </a:prstGeom>
        </p:spPr>
      </p:pic>
      <p:pic>
        <p:nvPicPr>
          <p:cNvPr id="7" name="Immagine 6" descr="Immagine che contiene testo&#10;&#10;Descrizione generata automaticamente">
            <a:extLst>
              <a:ext uri="{FF2B5EF4-FFF2-40B4-BE49-F238E27FC236}">
                <a16:creationId xmlns:a16="http://schemas.microsoft.com/office/drawing/2014/main" id="{45073114-5EE6-F3D2-735C-3E7DA9DCB8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022" y="3164063"/>
            <a:ext cx="2665257" cy="529872"/>
          </a:xfrm>
          <a:prstGeom prst="rect">
            <a:avLst/>
          </a:prstGeom>
        </p:spPr>
      </p:pic>
      <p:pic>
        <p:nvPicPr>
          <p:cNvPr id="8" name="Immagine 7" descr="Immagine che contiene testo, clipart&#10;&#10;Descrizione generata automaticamente">
            <a:extLst>
              <a:ext uri="{FF2B5EF4-FFF2-40B4-BE49-F238E27FC236}">
                <a16:creationId xmlns:a16="http://schemas.microsoft.com/office/drawing/2014/main" id="{3A183793-AE95-4C1E-0983-ECB82ED032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32304" y="2752067"/>
            <a:ext cx="2448272" cy="1045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296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B86D742B-A54F-425E-B41D-2980BB89E1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sz="6600" dirty="0">
                <a:latin typeface="Arial Black" panose="020B0A04020102020204" pitchFamily="34" charset="0"/>
              </a:rPr>
              <a:t>LA RICERCA E LA METODOLOGIA</a:t>
            </a:r>
            <a:endParaRPr lang="en-US" sz="66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27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2385B126-ADCD-16F3-9BEE-7162C9B436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r Konsument nach Corona und Consumer Voice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B5A24C-11D7-40BA-5E08-94155E5616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Sottotitolo 7">
            <a:extLst>
              <a:ext uri="{FF2B5EF4-FFF2-40B4-BE49-F238E27FC236}">
                <a16:creationId xmlns:a16="http://schemas.microsoft.com/office/drawing/2014/main" id="{A9CDC457-F37A-4BA0-B6FD-C464CE8B50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27848" y="2276872"/>
            <a:ext cx="5040000" cy="2087364"/>
          </a:xfrm>
        </p:spPr>
        <p:txBody>
          <a:bodyPr/>
          <a:lstStyle/>
          <a:p>
            <a:r>
              <a:rPr lang="en-US" sz="2800" dirty="0"/>
              <a:t>Best Product Brand</a:t>
            </a:r>
          </a:p>
          <a:p>
            <a:r>
              <a:rPr lang="en-US" sz="2800" dirty="0"/>
              <a:t>Best Growth Brand</a:t>
            </a:r>
          </a:p>
          <a:p>
            <a:r>
              <a:rPr lang="en-US" sz="2800" dirty="0"/>
              <a:t>Best Sustainability Brand</a:t>
            </a:r>
          </a:p>
          <a:p>
            <a:r>
              <a:rPr lang="en-US" sz="2800" dirty="0"/>
              <a:t>Best </a:t>
            </a:r>
            <a:r>
              <a:rPr lang="en-US" sz="2800" dirty="0" err="1"/>
              <a:t>Phygital</a:t>
            </a:r>
            <a:r>
              <a:rPr lang="en-US" sz="2800" dirty="0"/>
              <a:t> Brand</a:t>
            </a:r>
          </a:p>
          <a:p>
            <a:r>
              <a:rPr lang="en-US" sz="2800" i="1" dirty="0">
                <a:solidFill>
                  <a:srgbClr val="FF3399"/>
                </a:solidFill>
              </a:rPr>
              <a:t>NEW Best of the Best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6D68D17D-877F-456A-A20F-ED15B216623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solidFill>
            <a:srgbClr val="FF3399"/>
          </a:solidFill>
        </p:spPr>
        <p:txBody>
          <a:bodyPr/>
          <a:lstStyle/>
          <a:p>
            <a:r>
              <a:rPr lang="en-GB" dirty="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13638700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e 8">
            <a:extLst>
              <a:ext uri="{FF2B5EF4-FFF2-40B4-BE49-F238E27FC236}">
                <a16:creationId xmlns:a16="http://schemas.microsoft.com/office/drawing/2014/main" id="{5972AE41-7B3F-4C06-8267-C775A96AB96E}"/>
              </a:ext>
            </a:extLst>
          </p:cNvPr>
          <p:cNvSpPr/>
          <p:nvPr/>
        </p:nvSpPr>
        <p:spPr>
          <a:xfrm>
            <a:off x="0" y="1340768"/>
            <a:ext cx="11809312" cy="5352397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600" dirty="0" err="1"/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D9C06140-CBAB-451B-B066-627A959DF06C}"/>
              </a:ext>
            </a:extLst>
          </p:cNvPr>
          <p:cNvSpPr/>
          <p:nvPr/>
        </p:nvSpPr>
        <p:spPr>
          <a:xfrm>
            <a:off x="8503077" y="2752800"/>
            <a:ext cx="2556000" cy="26532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EST PHYGITAL BRANDS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AD6A3EDA-81C3-465C-A8C0-112EF4172F2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Introduzione del Best of the Best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52ED361B-87B3-49B6-93E2-06BF5BB16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7"/>
            <a:ext cx="10297541" cy="445227"/>
          </a:xfrm>
        </p:spPr>
        <p:txBody>
          <a:bodyPr>
            <a:normAutofit fontScale="90000"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it-IT" sz="3200" b="1" dirty="0">
                <a:latin typeface="+mj-lt"/>
                <a:ea typeface="+mj-ea"/>
                <a:cs typeface="+mj-cs"/>
              </a:rPr>
              <a:t>Edizione 2023 – l’evoluzione grazie ai feedback del Club</a:t>
            </a:r>
          </a:p>
        </p:txBody>
      </p:sp>
      <p:pic>
        <p:nvPicPr>
          <p:cNvPr id="29" name="Immagine 28">
            <a:extLst>
              <a:ext uri="{FF2B5EF4-FFF2-40B4-BE49-F238E27FC236}">
                <a16:creationId xmlns:a16="http://schemas.microsoft.com/office/drawing/2014/main" id="{78C99507-6F00-4560-B7B2-74C49273987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3752" y="1539368"/>
            <a:ext cx="894155" cy="558280"/>
          </a:xfrm>
          <a:prstGeom prst="rect">
            <a:avLst/>
          </a:prstGeom>
        </p:spPr>
      </p:pic>
      <p:sp>
        <p:nvSpPr>
          <p:cNvPr id="31" name="Google Shape;4807;p43">
            <a:extLst>
              <a:ext uri="{FF2B5EF4-FFF2-40B4-BE49-F238E27FC236}">
                <a16:creationId xmlns:a16="http://schemas.microsoft.com/office/drawing/2014/main" id="{2958C134-8830-4A59-8E49-FE2568344C64}"/>
              </a:ext>
            </a:extLst>
          </p:cNvPr>
          <p:cNvSpPr txBox="1"/>
          <p:nvPr/>
        </p:nvSpPr>
        <p:spPr>
          <a:xfrm>
            <a:off x="4417602" y="1623679"/>
            <a:ext cx="3251356" cy="524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5000"/>
              </a:lnSpc>
            </a:pPr>
            <a:r>
              <a:rPr lang="en" sz="2800" dirty="0">
                <a:solidFill>
                  <a:srgbClr val="FF3399"/>
                </a:solidFill>
                <a:ea typeface="Lato Light" panose="020F0502020204030203" pitchFamily="34" charset="0"/>
                <a:cs typeface="Lato Light" panose="020F0502020204030203" pitchFamily="34" charset="0"/>
                <a:sym typeface="Fira Sans Extra Condensed"/>
              </a:rPr>
              <a:t>Best </a:t>
            </a:r>
            <a:r>
              <a:rPr lang="it-IT" sz="2800" dirty="0">
                <a:solidFill>
                  <a:srgbClr val="FF3399"/>
                </a:solidFill>
                <a:ea typeface="Lato Light" panose="020F0502020204030203" pitchFamily="34" charset="0"/>
                <a:cs typeface="Lato Light" panose="020F0502020204030203" pitchFamily="34" charset="0"/>
                <a:sym typeface="Fira Sans Extra Condensed"/>
              </a:rPr>
              <a:t>of the Best</a:t>
            </a:r>
          </a:p>
          <a:p>
            <a:pPr algn="ctr">
              <a:lnSpc>
                <a:spcPct val="115000"/>
              </a:lnSpc>
            </a:pPr>
            <a:r>
              <a:rPr lang="it-IT" sz="2400" i="1" dirty="0">
                <a:solidFill>
                  <a:srgbClr val="FF3399"/>
                </a:solidFill>
                <a:ea typeface="Lato Light" panose="020F0502020204030203" pitchFamily="34" charset="0"/>
                <a:cs typeface="Lato Light" panose="020F0502020204030203" pitchFamily="34" charset="0"/>
                <a:sym typeface="Fira Sans Extra Condensed"/>
              </a:rPr>
              <a:t>(new)</a:t>
            </a:r>
            <a:endParaRPr sz="2400" i="1" dirty="0">
              <a:solidFill>
                <a:srgbClr val="FF3399"/>
              </a:solidFill>
              <a:ea typeface="Lato Light" panose="020F0502020204030203" pitchFamily="34" charset="0"/>
              <a:cs typeface="Lato Light" panose="020F0502020204030203" pitchFamily="34" charset="0"/>
              <a:sym typeface="Fira Sans Extra Condensed"/>
            </a:endParaRPr>
          </a:p>
        </p:txBody>
      </p:sp>
      <p:sp>
        <p:nvSpPr>
          <p:cNvPr id="34" name="Rettangolo con angoli arrotondati 33">
            <a:extLst>
              <a:ext uri="{FF2B5EF4-FFF2-40B4-BE49-F238E27FC236}">
                <a16:creationId xmlns:a16="http://schemas.microsoft.com/office/drawing/2014/main" id="{FD3F56D4-30A7-4FCC-A9E4-6A4745603B20}"/>
              </a:ext>
            </a:extLst>
          </p:cNvPr>
          <p:cNvSpPr/>
          <p:nvPr/>
        </p:nvSpPr>
        <p:spPr>
          <a:xfrm>
            <a:off x="5887988" y="2752800"/>
            <a:ext cx="2556000" cy="26532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EST SUISTAINABILITY BRANDS</a:t>
            </a:r>
          </a:p>
        </p:txBody>
      </p:sp>
      <p:sp>
        <p:nvSpPr>
          <p:cNvPr id="35" name="Rettangolo con angoli arrotondati 34">
            <a:extLst>
              <a:ext uri="{FF2B5EF4-FFF2-40B4-BE49-F238E27FC236}">
                <a16:creationId xmlns:a16="http://schemas.microsoft.com/office/drawing/2014/main" id="{F7CA9AD4-4863-4B5B-BDB3-8E8484EF3DF9}"/>
              </a:ext>
            </a:extLst>
          </p:cNvPr>
          <p:cNvSpPr/>
          <p:nvPr/>
        </p:nvSpPr>
        <p:spPr>
          <a:xfrm>
            <a:off x="3272898" y="2752800"/>
            <a:ext cx="2556000" cy="26532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EST GROWTH BRANDS</a:t>
            </a:r>
          </a:p>
        </p:txBody>
      </p:sp>
      <p:sp>
        <p:nvSpPr>
          <p:cNvPr id="36" name="Rettangolo con angoli arrotondati 35">
            <a:extLst>
              <a:ext uri="{FF2B5EF4-FFF2-40B4-BE49-F238E27FC236}">
                <a16:creationId xmlns:a16="http://schemas.microsoft.com/office/drawing/2014/main" id="{C54F86B8-F91B-4E59-BA49-996FADCFA14A}"/>
              </a:ext>
            </a:extLst>
          </p:cNvPr>
          <p:cNvSpPr/>
          <p:nvPr/>
        </p:nvSpPr>
        <p:spPr>
          <a:xfrm>
            <a:off x="657808" y="2752800"/>
            <a:ext cx="2556000" cy="265326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BEST PRODUCT BRANDS</a:t>
            </a: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8FA4548F-4BD1-4899-90EF-549CBEA2858D}"/>
              </a:ext>
            </a:extLst>
          </p:cNvPr>
          <p:cNvSpPr/>
          <p:nvPr/>
        </p:nvSpPr>
        <p:spPr>
          <a:xfrm>
            <a:off x="871465" y="3453211"/>
            <a:ext cx="1840159" cy="53816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/>
              <a:t>Share of Market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83BC2D1F-7132-4599-9CE7-5957D4184BCD}"/>
              </a:ext>
            </a:extLst>
          </p:cNvPr>
          <p:cNvSpPr/>
          <p:nvPr/>
        </p:nvSpPr>
        <p:spPr>
          <a:xfrm>
            <a:off x="871465" y="4138296"/>
            <a:ext cx="1840159" cy="53816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/>
              <a:t>Share of Soul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D4BAE4E1-E3EE-4A8A-A7F7-CF0BF8B27D46}"/>
              </a:ext>
            </a:extLst>
          </p:cNvPr>
          <p:cNvSpPr/>
          <p:nvPr/>
        </p:nvSpPr>
        <p:spPr>
          <a:xfrm>
            <a:off x="3507277" y="3429000"/>
            <a:ext cx="2117359" cy="54000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/>
              <a:t>Variazione Market Share</a:t>
            </a:r>
          </a:p>
        </p:txBody>
      </p:sp>
      <p:sp>
        <p:nvSpPr>
          <p:cNvPr id="20" name="TextBox 44">
            <a:extLst>
              <a:ext uri="{FF2B5EF4-FFF2-40B4-BE49-F238E27FC236}">
                <a16:creationId xmlns:a16="http://schemas.microsoft.com/office/drawing/2014/main" id="{68907CAC-8277-4BCE-8DF5-1A810D301319}"/>
              </a:ext>
            </a:extLst>
          </p:cNvPr>
          <p:cNvSpPr txBox="1"/>
          <p:nvPr/>
        </p:nvSpPr>
        <p:spPr>
          <a:xfrm>
            <a:off x="3489968" y="4131799"/>
            <a:ext cx="2134668" cy="53917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51872"/>
            <a:r>
              <a:rPr lang="it-IT" sz="1400" kern="0" dirty="0"/>
              <a:t> Variazione Brand </a:t>
            </a:r>
          </a:p>
          <a:p>
            <a:pPr algn="ctr" defTabSz="1051872"/>
            <a:r>
              <a:rPr lang="it-IT" sz="1400" kern="0" dirty="0"/>
              <a:t>performance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8370967F-CFDE-4AC0-B27A-D97221324F7A}"/>
              </a:ext>
            </a:extLst>
          </p:cNvPr>
          <p:cNvSpPr/>
          <p:nvPr/>
        </p:nvSpPr>
        <p:spPr>
          <a:xfrm>
            <a:off x="5968842" y="3485595"/>
            <a:ext cx="2274593" cy="338076"/>
          </a:xfrm>
          <a:prstGeom prst="rect">
            <a:avLst/>
          </a:prstGeom>
          <a:solidFill>
            <a:srgbClr val="DBE0EB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</a:pPr>
            <a:r>
              <a:rPr lang="it-IT" sz="1400" kern="0" dirty="0"/>
              <a:t>Market Share </a:t>
            </a:r>
            <a:r>
              <a:rPr lang="it-IT" sz="1200" i="1" kern="0" dirty="0"/>
              <a:t>(</a:t>
            </a:r>
            <a:r>
              <a:rPr lang="it-IT" sz="1200" i="1" kern="0" dirty="0" err="1"/>
              <a:t>pre</a:t>
            </a:r>
            <a:r>
              <a:rPr lang="it-IT" sz="1200" i="1" kern="0" dirty="0"/>
              <a:t>-requisito)</a:t>
            </a:r>
            <a:endParaRPr lang="it-IT" sz="1400" i="1" kern="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8FBDC19D-B1C6-49CA-8B51-C890CBF5ED7C}"/>
              </a:ext>
            </a:extLst>
          </p:cNvPr>
          <p:cNvSpPr/>
          <p:nvPr/>
        </p:nvSpPr>
        <p:spPr>
          <a:xfrm>
            <a:off x="5968842" y="4035473"/>
            <a:ext cx="2282828" cy="3380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>
                <a:ea typeface="Lato" panose="020F0502020204030203" pitchFamily="34" charset="0"/>
                <a:cs typeface="Lato" panose="020F0502020204030203" pitchFamily="34" charset="0"/>
              </a:rPr>
              <a:t>Ambiente e Salute</a:t>
            </a:r>
            <a:endParaRPr lang="en-GB" sz="1400" kern="0" dirty="0"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75BCCD70-F283-4A8C-87B2-AE7259064E58}"/>
              </a:ext>
            </a:extLst>
          </p:cNvPr>
          <p:cNvSpPr/>
          <p:nvPr/>
        </p:nvSpPr>
        <p:spPr>
          <a:xfrm>
            <a:off x="5968842" y="4433098"/>
            <a:ext cx="2282828" cy="3380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>
                <a:ea typeface="Lato" panose="020F0502020204030203" pitchFamily="34" charset="0"/>
                <a:cs typeface="Lato" panose="020F0502020204030203" pitchFamily="34" charset="0"/>
              </a:rPr>
              <a:t>Sostegno al Consumatore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0B317907-AF53-4CAC-AAD8-2DB1E6BB3BC8}"/>
              </a:ext>
            </a:extLst>
          </p:cNvPr>
          <p:cNvSpPr/>
          <p:nvPr/>
        </p:nvSpPr>
        <p:spPr>
          <a:xfrm>
            <a:off x="8643780" y="3962114"/>
            <a:ext cx="2284495" cy="54000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/>
              <a:t>«</a:t>
            </a:r>
            <a:r>
              <a:rPr lang="it-IT" sz="1400" kern="0" dirty="0" err="1"/>
              <a:t>Phygitality</a:t>
            </a:r>
            <a:r>
              <a:rPr lang="it-IT" sz="1400" kern="0" dirty="0"/>
              <a:t>» </a:t>
            </a:r>
            <a:r>
              <a:rPr lang="it-IT" sz="1050" i="1" kern="0" dirty="0"/>
              <a:t>(livello di integrazione e coerenza esperienza off e online)</a:t>
            </a:r>
            <a:endParaRPr lang="it-IT" sz="1400" i="1" kern="0" dirty="0"/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7FE7B65A-F268-4A0A-833C-5D14E483D93E}"/>
              </a:ext>
            </a:extLst>
          </p:cNvPr>
          <p:cNvSpPr/>
          <p:nvPr/>
        </p:nvSpPr>
        <p:spPr>
          <a:xfrm>
            <a:off x="8643780" y="4627539"/>
            <a:ext cx="2284495" cy="43200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/>
              <a:t>«</a:t>
            </a:r>
            <a:r>
              <a:rPr lang="it-IT" sz="1400" kern="0" dirty="0" err="1"/>
              <a:t>Phygital</a:t>
            </a:r>
            <a:r>
              <a:rPr lang="it-IT" sz="1400" kern="0" dirty="0"/>
              <a:t> Confidence» </a:t>
            </a:r>
            <a:r>
              <a:rPr lang="it-IT" sz="1100" i="1" kern="0" dirty="0"/>
              <a:t>(misurata su 4 dimensioni) 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F1567DC5-F7FB-4A48-AF7E-9A11C8A4E768}"/>
              </a:ext>
            </a:extLst>
          </p:cNvPr>
          <p:cNvSpPr/>
          <p:nvPr/>
        </p:nvSpPr>
        <p:spPr>
          <a:xfrm>
            <a:off x="5977077" y="4797152"/>
            <a:ext cx="2282211" cy="3380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  <a:defRPr/>
            </a:pPr>
            <a:r>
              <a:rPr lang="it-IT" sz="1400" kern="0" dirty="0">
                <a:ea typeface="Lato" panose="020F0502020204030203" pitchFamily="34" charset="0"/>
                <a:cs typeface="Lato" panose="020F0502020204030203" pitchFamily="34" charset="0"/>
              </a:rPr>
              <a:t>Rispetto delle regole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E007CA3D-F411-477B-8FC1-F48BBF1A48B2}"/>
              </a:ext>
            </a:extLst>
          </p:cNvPr>
          <p:cNvSpPr/>
          <p:nvPr/>
        </p:nvSpPr>
        <p:spPr>
          <a:xfrm>
            <a:off x="8643780" y="3498613"/>
            <a:ext cx="2274593" cy="338076"/>
          </a:xfrm>
          <a:prstGeom prst="rect">
            <a:avLst/>
          </a:prstGeom>
          <a:solidFill>
            <a:srgbClr val="DBE0EB"/>
          </a:solidFill>
        </p:spPr>
        <p:txBody>
          <a:bodyPr rot="0" spcFirstLastPara="0" vertOverflow="overflow" horzOverflow="overflow" vert="horz" wrap="square" lIns="68587" tIns="68587" rIns="68587" bIns="6858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Aft>
                <a:spcPts val="953"/>
              </a:spcAft>
            </a:pPr>
            <a:r>
              <a:rPr lang="it-IT" sz="1400" kern="0" dirty="0"/>
              <a:t>Market Share </a:t>
            </a:r>
            <a:r>
              <a:rPr lang="it-IT" sz="1200" i="1" kern="0" dirty="0"/>
              <a:t>(</a:t>
            </a:r>
            <a:r>
              <a:rPr lang="it-IT" sz="1200" i="1" kern="0" dirty="0" err="1"/>
              <a:t>pre</a:t>
            </a:r>
            <a:r>
              <a:rPr lang="it-IT" sz="1200" i="1" kern="0" dirty="0"/>
              <a:t>-requisito)</a:t>
            </a:r>
            <a:endParaRPr lang="it-IT" sz="1400" i="1" kern="0" dirty="0"/>
          </a:p>
        </p:txBody>
      </p:sp>
    </p:spTree>
    <p:extLst>
      <p:ext uri="{BB962C8B-B14F-4D97-AF65-F5344CB8AC3E}">
        <p14:creationId xmlns:p14="http://schemas.microsoft.com/office/powerpoint/2010/main" val="3642329245"/>
      </p:ext>
    </p:extLst>
  </p:cSld>
  <p:clrMapOvr>
    <a:masterClrMapping/>
  </p:clrMapOvr>
  <p:transition>
    <p:randomBa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1A1D08-8D18-40E9-9C44-46CD0BA5EE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2454" y="411331"/>
            <a:ext cx="11222178" cy="1509212"/>
          </a:xfrm>
        </p:spPr>
        <p:txBody>
          <a:bodyPr>
            <a:normAutofit/>
          </a:bodyPr>
          <a:lstStyle/>
          <a:p>
            <a:r>
              <a:rPr lang="en-GB" sz="4000" dirty="0">
                <a:latin typeface="Arial Black" panose="020B0A04020102020204" pitchFamily="34" charset="0"/>
              </a:rPr>
              <a:t>The Best of the Best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AF81D13D-19C6-4005-9A5F-854203AD0F72}"/>
              </a:ext>
            </a:extLst>
          </p:cNvPr>
          <p:cNvCxnSpPr>
            <a:cxnSpLocks/>
          </p:cNvCxnSpPr>
          <p:nvPr/>
        </p:nvCxnSpPr>
        <p:spPr>
          <a:xfrm>
            <a:off x="4057000" y="2066161"/>
            <a:ext cx="0" cy="3637343"/>
          </a:xfrm>
          <a:prstGeom prst="line">
            <a:avLst/>
          </a:prstGeom>
          <a:ln w="38100">
            <a:solidFill>
              <a:schemeClr val="bg2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FF7BBCAC-92A0-4567-88E7-17E60E9E9B58}"/>
              </a:ext>
            </a:extLst>
          </p:cNvPr>
          <p:cNvCxnSpPr>
            <a:cxnSpLocks/>
          </p:cNvCxnSpPr>
          <p:nvPr/>
        </p:nvCxnSpPr>
        <p:spPr>
          <a:xfrm rot="5400000">
            <a:off x="4201380" y="2116497"/>
            <a:ext cx="0" cy="3637343"/>
          </a:xfrm>
          <a:prstGeom prst="line">
            <a:avLst/>
          </a:prstGeom>
          <a:ln w="38100">
            <a:solidFill>
              <a:schemeClr val="bg2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oogle Shape;4812;p43">
            <a:extLst>
              <a:ext uri="{FF2B5EF4-FFF2-40B4-BE49-F238E27FC236}">
                <a16:creationId xmlns:a16="http://schemas.microsoft.com/office/drawing/2014/main" id="{B8443EDD-D006-475D-8EF1-F45F23D6ACBE}"/>
              </a:ext>
            </a:extLst>
          </p:cNvPr>
          <p:cNvSpPr/>
          <p:nvPr/>
        </p:nvSpPr>
        <p:spPr>
          <a:xfrm rot="2805875">
            <a:off x="4072260" y="2864705"/>
            <a:ext cx="1797267" cy="195516"/>
          </a:xfrm>
          <a:prstGeom prst="rightArrow">
            <a:avLst>
              <a:gd name="adj1" fmla="val 25514"/>
              <a:gd name="adj2" fmla="val 64322"/>
            </a:avLst>
          </a:prstGeom>
          <a:solidFill>
            <a:srgbClr val="FF66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4813;p43">
            <a:extLst>
              <a:ext uri="{FF2B5EF4-FFF2-40B4-BE49-F238E27FC236}">
                <a16:creationId xmlns:a16="http://schemas.microsoft.com/office/drawing/2014/main" id="{F1973A47-20D2-465B-909A-A4750ACB1CAA}"/>
              </a:ext>
            </a:extLst>
          </p:cNvPr>
          <p:cNvSpPr/>
          <p:nvPr/>
        </p:nvSpPr>
        <p:spPr>
          <a:xfrm>
            <a:off x="633636" y="3622483"/>
            <a:ext cx="1749072" cy="642557"/>
          </a:xfrm>
          <a:prstGeom prst="ellipse">
            <a:avLst/>
          </a:prstGeom>
          <a:solidFill>
            <a:srgbClr val="FF66CC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" sz="18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PHYGITAL</a:t>
            </a:r>
            <a:endParaRPr sz="1800" b="1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6" name="Google Shape;4809;p43">
            <a:extLst>
              <a:ext uri="{FF2B5EF4-FFF2-40B4-BE49-F238E27FC236}">
                <a16:creationId xmlns:a16="http://schemas.microsoft.com/office/drawing/2014/main" id="{637C6137-3BBF-4FBB-B67E-EB711C77C96D}"/>
              </a:ext>
            </a:extLst>
          </p:cNvPr>
          <p:cNvSpPr/>
          <p:nvPr/>
        </p:nvSpPr>
        <p:spPr>
          <a:xfrm>
            <a:off x="5754097" y="3630459"/>
            <a:ext cx="2250492" cy="642557"/>
          </a:xfrm>
          <a:prstGeom prst="ellipse">
            <a:avLst/>
          </a:prstGeom>
          <a:solidFill>
            <a:srgbClr val="FF66CC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" sz="18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PERFORMANCE</a:t>
            </a:r>
            <a:endParaRPr sz="1800" b="1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18" name="Google Shape;4813;p43">
            <a:extLst>
              <a:ext uri="{FF2B5EF4-FFF2-40B4-BE49-F238E27FC236}">
                <a16:creationId xmlns:a16="http://schemas.microsoft.com/office/drawing/2014/main" id="{AB1B08F6-D1A3-4612-860A-F22F45E8E104}"/>
              </a:ext>
            </a:extLst>
          </p:cNvPr>
          <p:cNvSpPr/>
          <p:nvPr/>
        </p:nvSpPr>
        <p:spPr>
          <a:xfrm>
            <a:off x="2931754" y="5569832"/>
            <a:ext cx="2250492" cy="642557"/>
          </a:xfrm>
          <a:prstGeom prst="ellipse">
            <a:avLst/>
          </a:prstGeom>
          <a:solidFill>
            <a:srgbClr val="FF66CC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" sz="18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PURPOSE</a:t>
            </a:r>
            <a:endParaRPr sz="1800" b="1" dirty="0">
              <a:solidFill>
                <a:srgbClr val="FFFFFF"/>
              </a:solidFill>
              <a:latin typeface="Fira Sans Extra Condensed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20" name="Google Shape;4812;p43">
            <a:extLst>
              <a:ext uri="{FF2B5EF4-FFF2-40B4-BE49-F238E27FC236}">
                <a16:creationId xmlns:a16="http://schemas.microsoft.com/office/drawing/2014/main" id="{CADFF51F-1D79-49DB-9E2B-38AF014E99C6}"/>
              </a:ext>
            </a:extLst>
          </p:cNvPr>
          <p:cNvSpPr/>
          <p:nvPr/>
        </p:nvSpPr>
        <p:spPr>
          <a:xfrm rot="13677756">
            <a:off x="2241089" y="4710282"/>
            <a:ext cx="1797267" cy="195516"/>
          </a:xfrm>
          <a:prstGeom prst="rightArrow">
            <a:avLst>
              <a:gd name="adj1" fmla="val 25514"/>
              <a:gd name="adj2" fmla="val 64322"/>
            </a:avLst>
          </a:prstGeom>
          <a:solidFill>
            <a:srgbClr val="FF66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4812;p43">
            <a:extLst>
              <a:ext uri="{FF2B5EF4-FFF2-40B4-BE49-F238E27FC236}">
                <a16:creationId xmlns:a16="http://schemas.microsoft.com/office/drawing/2014/main" id="{977E011A-E93B-47E9-85CD-2B0CE5DF5F7E}"/>
              </a:ext>
            </a:extLst>
          </p:cNvPr>
          <p:cNvSpPr/>
          <p:nvPr/>
        </p:nvSpPr>
        <p:spPr>
          <a:xfrm rot="8040240">
            <a:off x="4158341" y="4710282"/>
            <a:ext cx="1797267" cy="195516"/>
          </a:xfrm>
          <a:prstGeom prst="rightArrow">
            <a:avLst>
              <a:gd name="adj1" fmla="val 25514"/>
              <a:gd name="adj2" fmla="val 64322"/>
            </a:avLst>
          </a:prstGeom>
          <a:solidFill>
            <a:srgbClr val="FF66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4812;p43">
            <a:extLst>
              <a:ext uri="{FF2B5EF4-FFF2-40B4-BE49-F238E27FC236}">
                <a16:creationId xmlns:a16="http://schemas.microsoft.com/office/drawing/2014/main" id="{DAF489C0-B31C-4C84-8019-386E7AA8DB10}"/>
              </a:ext>
            </a:extLst>
          </p:cNvPr>
          <p:cNvSpPr/>
          <p:nvPr/>
        </p:nvSpPr>
        <p:spPr>
          <a:xfrm rot="18846405">
            <a:off x="2252315" y="2869866"/>
            <a:ext cx="1797267" cy="195516"/>
          </a:xfrm>
          <a:prstGeom prst="rightArrow">
            <a:avLst>
              <a:gd name="adj1" fmla="val 25514"/>
              <a:gd name="adj2" fmla="val 64322"/>
            </a:avLst>
          </a:prstGeom>
          <a:solidFill>
            <a:srgbClr val="FF66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4807;p43">
            <a:extLst>
              <a:ext uri="{FF2B5EF4-FFF2-40B4-BE49-F238E27FC236}">
                <a16:creationId xmlns:a16="http://schemas.microsoft.com/office/drawing/2014/main" id="{DEB0CE12-7AB2-4CED-B56F-7D24DC8D99B3}"/>
              </a:ext>
            </a:extLst>
          </p:cNvPr>
          <p:cNvSpPr txBox="1"/>
          <p:nvPr/>
        </p:nvSpPr>
        <p:spPr>
          <a:xfrm>
            <a:off x="3445485" y="3494748"/>
            <a:ext cx="1185119" cy="9139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115000"/>
              </a:lnSpc>
            </a:pPr>
            <a:r>
              <a:rPr lang="en" sz="2200" b="1" dirty="0">
                <a:solidFill>
                  <a:srgbClr val="FF66CC"/>
                </a:solidFill>
                <a:latin typeface="+mn-lt"/>
                <a:ea typeface="Fira Sans Extra Condensed"/>
                <a:cs typeface="Fira Sans Extra Condensed"/>
                <a:sym typeface="Fira Sans Extra Condensed"/>
              </a:rPr>
              <a:t>Best</a:t>
            </a:r>
          </a:p>
          <a:p>
            <a:pPr algn="ctr">
              <a:lnSpc>
                <a:spcPct val="115000"/>
              </a:lnSpc>
            </a:pPr>
            <a:r>
              <a:rPr lang="en" sz="2200" b="1" dirty="0">
                <a:solidFill>
                  <a:srgbClr val="FF66CC"/>
                </a:solidFill>
                <a:latin typeface="+mn-lt"/>
                <a:ea typeface="Fira Sans Extra Condensed"/>
                <a:cs typeface="Fira Sans Extra Condensed"/>
                <a:sym typeface="Fira Sans Extra Condensed"/>
              </a:rPr>
              <a:t>Brands</a:t>
            </a:r>
            <a:endParaRPr sz="2200" b="1" dirty="0">
              <a:solidFill>
                <a:srgbClr val="FF66CC"/>
              </a:solidFill>
              <a:latin typeface="+mn-lt"/>
              <a:ea typeface="Fira Sans Extra Condensed"/>
              <a:cs typeface="Fira Sans Extra Condensed"/>
              <a:sym typeface="Fira Sans Extra Condensed"/>
            </a:endParaRPr>
          </a:p>
        </p:txBody>
      </p:sp>
      <p:sp>
        <p:nvSpPr>
          <p:cNvPr id="8" name="Google Shape;4811;p43">
            <a:extLst>
              <a:ext uri="{FF2B5EF4-FFF2-40B4-BE49-F238E27FC236}">
                <a16:creationId xmlns:a16="http://schemas.microsoft.com/office/drawing/2014/main" id="{E3B6ACDA-0AED-4E9E-9895-CD51CD0BA5D3}"/>
              </a:ext>
            </a:extLst>
          </p:cNvPr>
          <p:cNvSpPr/>
          <p:nvPr/>
        </p:nvSpPr>
        <p:spPr>
          <a:xfrm>
            <a:off x="2959687" y="1471780"/>
            <a:ext cx="2250492" cy="642557"/>
          </a:xfrm>
          <a:prstGeom prst="ellipse">
            <a:avLst/>
          </a:prstGeom>
          <a:solidFill>
            <a:srgbClr val="FF66CC"/>
          </a:solidFill>
          <a:ln w="381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" sz="18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PRODUCT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1F754F70-1644-4BD0-8ABD-86BEA1F6B923}"/>
              </a:ext>
            </a:extLst>
          </p:cNvPr>
          <p:cNvSpPr txBox="1"/>
          <p:nvPr/>
        </p:nvSpPr>
        <p:spPr>
          <a:xfrm>
            <a:off x="7151845" y="1279191"/>
            <a:ext cx="4839256" cy="16702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i="1" dirty="0">
                <a:solidFill>
                  <a:schemeClr val="bg1"/>
                </a:solidFill>
              </a:rPr>
              <a:t>I</a:t>
            </a:r>
            <a:r>
              <a:rPr lang="it-IT" i="1" dirty="0"/>
              <a:t> </a:t>
            </a:r>
            <a:r>
              <a:rPr lang="it-IT" i="1" dirty="0">
                <a:solidFill>
                  <a:srgbClr val="FF66CC"/>
                </a:solidFill>
              </a:rPr>
              <a:t>Best </a:t>
            </a:r>
            <a:r>
              <a:rPr lang="it-IT" i="1" dirty="0">
                <a:solidFill>
                  <a:schemeClr val="bg1"/>
                </a:solidFill>
              </a:rPr>
              <a:t>Brands soddisfano quattro  condizioni: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i="1" dirty="0">
                <a:solidFill>
                  <a:schemeClr val="bg1"/>
                </a:solidFill>
              </a:rPr>
              <a:t>Portano sul mercato </a:t>
            </a:r>
            <a:r>
              <a:rPr lang="it-IT" i="1" dirty="0"/>
              <a:t>i </a:t>
            </a:r>
            <a:r>
              <a:rPr lang="it-IT" i="1" dirty="0">
                <a:solidFill>
                  <a:srgbClr val="FF66CC"/>
                </a:solidFill>
              </a:rPr>
              <a:t>migliori prodotti e servizi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i="1" dirty="0">
                <a:solidFill>
                  <a:srgbClr val="FF66CC"/>
                </a:solidFill>
              </a:rPr>
              <a:t>Crescono</a:t>
            </a:r>
            <a:r>
              <a:rPr lang="it-IT" i="1" dirty="0"/>
              <a:t> </a:t>
            </a:r>
            <a:r>
              <a:rPr lang="it-IT" i="1" dirty="0">
                <a:solidFill>
                  <a:schemeClr val="bg1"/>
                </a:solidFill>
              </a:rPr>
              <a:t>in modo costante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i="1" dirty="0">
                <a:solidFill>
                  <a:schemeClr val="bg1"/>
                </a:solidFill>
              </a:rPr>
              <a:t>Hanno uno</a:t>
            </a:r>
            <a:r>
              <a:rPr lang="it-IT" i="1" dirty="0"/>
              <a:t> </a:t>
            </a:r>
            <a:r>
              <a:rPr lang="it-IT" i="1" dirty="0">
                <a:solidFill>
                  <a:srgbClr val="FF66CC"/>
                </a:solidFill>
              </a:rPr>
              <a:t>scopo oltre al profitto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i="1" dirty="0">
                <a:solidFill>
                  <a:srgbClr val="FF66CC"/>
                </a:solidFill>
              </a:rPr>
              <a:t>Integrano</a:t>
            </a:r>
            <a:r>
              <a:rPr lang="it-IT" i="1" dirty="0"/>
              <a:t> </a:t>
            </a:r>
            <a:r>
              <a:rPr lang="it-IT" i="1" dirty="0">
                <a:solidFill>
                  <a:schemeClr val="bg1"/>
                </a:solidFill>
              </a:rPr>
              <a:t>coerentemente </a:t>
            </a:r>
            <a:r>
              <a:rPr lang="it-IT" i="1" dirty="0"/>
              <a:t> </a:t>
            </a:r>
            <a:r>
              <a:rPr lang="it-IT" i="1" dirty="0">
                <a:solidFill>
                  <a:srgbClr val="FF66CC"/>
                </a:solidFill>
              </a:rPr>
              <a:t>esperienza fisica </a:t>
            </a:r>
            <a:r>
              <a:rPr lang="it-IT" i="1" dirty="0">
                <a:solidFill>
                  <a:schemeClr val="bg1"/>
                </a:solidFill>
              </a:rPr>
              <a:t>e </a:t>
            </a:r>
            <a:r>
              <a:rPr lang="it-IT" i="1" dirty="0">
                <a:solidFill>
                  <a:srgbClr val="FF66CC"/>
                </a:solidFill>
              </a:rPr>
              <a:t>digitale.</a:t>
            </a:r>
            <a:endParaRPr lang="it-IT" i="1" dirty="0"/>
          </a:p>
        </p:txBody>
      </p:sp>
      <p:pic>
        <p:nvPicPr>
          <p:cNvPr id="28" name="Elemento grafico 27" descr="Virgoletta chiusa con riempimento a tinta unita">
            <a:extLst>
              <a:ext uri="{FF2B5EF4-FFF2-40B4-BE49-F238E27FC236}">
                <a16:creationId xmlns:a16="http://schemas.microsoft.com/office/drawing/2014/main" id="{3FEC9A09-201A-4102-94CC-1B0ECBFDEE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2404" y="2832759"/>
            <a:ext cx="720000" cy="720000"/>
          </a:xfrm>
          <a:prstGeom prst="rect">
            <a:avLst/>
          </a:prstGeom>
        </p:spPr>
      </p:pic>
      <p:pic>
        <p:nvPicPr>
          <p:cNvPr id="26" name="Elemento grafico 25" descr="Virgolette aperte con riempimento a tinta unita">
            <a:extLst>
              <a:ext uri="{FF2B5EF4-FFF2-40B4-BE49-F238E27FC236}">
                <a16:creationId xmlns:a16="http://schemas.microsoft.com/office/drawing/2014/main" id="{3145B28E-415C-4A65-B2AF-86C5D1CA91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8821" y="1111780"/>
            <a:ext cx="720000" cy="72000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2A107A91-7209-422B-84C3-1D7D744CFC36}"/>
              </a:ext>
            </a:extLst>
          </p:cNvPr>
          <p:cNvSpPr/>
          <p:nvPr/>
        </p:nvSpPr>
        <p:spPr>
          <a:xfrm rot="2746862">
            <a:off x="3082665" y="2940615"/>
            <a:ext cx="1920000" cy="1920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F77F942C-65FA-4E97-A05F-39DA3C9C58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5800" y="3400609"/>
            <a:ext cx="1621115" cy="1012168"/>
          </a:xfrm>
          <a:prstGeom prst="rect">
            <a:avLst/>
          </a:prstGeom>
        </p:spPr>
      </p:pic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17A35E57-6355-4F81-87F3-7F2F22B75FF7}"/>
              </a:ext>
            </a:extLst>
          </p:cNvPr>
          <p:cNvSpPr txBox="1"/>
          <p:nvPr/>
        </p:nvSpPr>
        <p:spPr>
          <a:xfrm>
            <a:off x="5519936" y="5654838"/>
            <a:ext cx="6573675" cy="6425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sz="2400" i="1" dirty="0">
                <a:solidFill>
                  <a:schemeClr val="bg1"/>
                </a:solidFill>
              </a:rPr>
              <a:t>Il Best of the Best eccelle in tutte le dimensioni. </a:t>
            </a:r>
          </a:p>
        </p:txBody>
      </p:sp>
    </p:spTree>
    <p:extLst>
      <p:ext uri="{BB962C8B-B14F-4D97-AF65-F5344CB8AC3E}">
        <p14:creationId xmlns:p14="http://schemas.microsoft.com/office/powerpoint/2010/main" val="2070344825"/>
      </p:ext>
    </p:extLst>
  </p:cSld>
  <p:clrMapOvr>
    <a:masterClrMapping/>
  </p:clrMapOvr>
  <p:transition>
    <p:randomBa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UN NON-PREMIO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28E7C7B8-9409-AB21-C574-81E25993CF9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348" b="10066"/>
          <a:stretch/>
        </p:blipFill>
        <p:spPr>
          <a:xfrm>
            <a:off x="591188" y="1412776"/>
            <a:ext cx="11115878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0823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116">
            <a:extLst>
              <a:ext uri="{FF2B5EF4-FFF2-40B4-BE49-F238E27FC236}">
                <a16:creationId xmlns:a16="http://schemas.microsoft.com/office/drawing/2014/main" id="{EF31E609-BC1F-42AC-AF52-72F504682D17}"/>
              </a:ext>
            </a:extLst>
          </p:cNvPr>
          <p:cNvSpPr/>
          <p:nvPr/>
        </p:nvSpPr>
        <p:spPr bwMode="gray">
          <a:xfrm>
            <a:off x="334963" y="1379374"/>
            <a:ext cx="11028137" cy="3730789"/>
          </a:xfrm>
          <a:prstGeom prst="rect">
            <a:avLst/>
          </a:prstGeom>
          <a:solidFill>
            <a:schemeClr val="bg2">
              <a:lumMod val="25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1" name="Gruppieren 5">
            <a:extLst>
              <a:ext uri="{FF2B5EF4-FFF2-40B4-BE49-F238E27FC236}">
                <a16:creationId xmlns:a16="http://schemas.microsoft.com/office/drawing/2014/main" id="{C3B0E917-3403-4F64-B5A3-FB883B295949}"/>
              </a:ext>
            </a:extLst>
          </p:cNvPr>
          <p:cNvGrpSpPr/>
          <p:nvPr/>
        </p:nvGrpSpPr>
        <p:grpSpPr>
          <a:xfrm>
            <a:off x="3968002" y="2345689"/>
            <a:ext cx="2236735" cy="1110135"/>
            <a:chOff x="3401711" y="1875896"/>
            <a:chExt cx="1723446" cy="950399"/>
          </a:xfrm>
        </p:grpSpPr>
        <p:sp>
          <p:nvSpPr>
            <p:cNvPr id="42" name="Rechteck 125">
              <a:extLst>
                <a:ext uri="{FF2B5EF4-FFF2-40B4-BE49-F238E27FC236}">
                  <a16:creationId xmlns:a16="http://schemas.microsoft.com/office/drawing/2014/main" id="{50BF3497-8956-4EC5-AF69-8951D25B8992}"/>
                </a:ext>
              </a:extLst>
            </p:cNvPr>
            <p:cNvSpPr/>
            <p:nvPr/>
          </p:nvSpPr>
          <p:spPr>
            <a:xfrm>
              <a:off x="3573479" y="1875896"/>
              <a:ext cx="1551678" cy="781636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5333" b="1" dirty="0">
                  <a:solidFill>
                    <a:schemeClr val="bg1"/>
                  </a:solidFill>
                  <a:cs typeface="Arial" pitchFamily="34" charset="0"/>
                </a:rPr>
                <a:t>300</a:t>
              </a:r>
              <a:endParaRPr lang="de-DE" sz="5333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Rechteck 126">
              <a:extLst>
                <a:ext uri="{FF2B5EF4-FFF2-40B4-BE49-F238E27FC236}">
                  <a16:creationId xmlns:a16="http://schemas.microsoft.com/office/drawing/2014/main" id="{EB9A55D4-C10C-40B8-B4BF-5892854E7C81}"/>
                </a:ext>
              </a:extLst>
            </p:cNvPr>
            <p:cNvSpPr/>
            <p:nvPr/>
          </p:nvSpPr>
          <p:spPr>
            <a:xfrm>
              <a:off x="3401711" y="2536455"/>
              <a:ext cx="1315675" cy="289840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00"/>
                </a:spcBef>
              </a:pPr>
              <a:r>
                <a:rPr lang="en-US" sz="1600" b="1" dirty="0">
                  <a:solidFill>
                    <a:schemeClr val="bg1"/>
                  </a:solidFill>
                  <a:cs typeface="Arial" pitchFamily="34" charset="0"/>
                </a:rPr>
                <a:t>BRAND IN TEST</a:t>
              </a:r>
            </a:p>
          </p:txBody>
        </p:sp>
      </p:grpSp>
      <p:grpSp>
        <p:nvGrpSpPr>
          <p:cNvPr id="44" name="Gruppieren 9232">
            <a:extLst>
              <a:ext uri="{FF2B5EF4-FFF2-40B4-BE49-F238E27FC236}">
                <a16:creationId xmlns:a16="http://schemas.microsoft.com/office/drawing/2014/main" id="{1F058F31-69B4-4A2D-B9C3-7ADF8BA16DD4}"/>
              </a:ext>
            </a:extLst>
          </p:cNvPr>
          <p:cNvGrpSpPr/>
          <p:nvPr/>
        </p:nvGrpSpPr>
        <p:grpSpPr>
          <a:xfrm>
            <a:off x="657823" y="2236975"/>
            <a:ext cx="2717461" cy="1566561"/>
            <a:chOff x="5832609" y="1612774"/>
            <a:chExt cx="2093855" cy="1341149"/>
          </a:xfrm>
        </p:grpSpPr>
        <p:sp>
          <p:nvSpPr>
            <p:cNvPr id="45" name="Rechteck 127">
              <a:extLst>
                <a:ext uri="{FF2B5EF4-FFF2-40B4-BE49-F238E27FC236}">
                  <a16:creationId xmlns:a16="http://schemas.microsoft.com/office/drawing/2014/main" id="{C8181D73-7FD4-446A-BB38-C7C52859A437}"/>
                </a:ext>
              </a:extLst>
            </p:cNvPr>
            <p:cNvSpPr/>
            <p:nvPr/>
          </p:nvSpPr>
          <p:spPr>
            <a:xfrm>
              <a:off x="6111704" y="1612774"/>
              <a:ext cx="1153802" cy="80803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5333" b="1" dirty="0">
                  <a:solidFill>
                    <a:schemeClr val="bg1"/>
                  </a:solidFill>
                  <a:cs typeface="Arial" pitchFamily="34" charset="0"/>
                </a:rPr>
                <a:t>50</a:t>
              </a:r>
              <a:endParaRPr lang="de-DE" sz="5333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Rechteck 128">
              <a:extLst>
                <a:ext uri="{FF2B5EF4-FFF2-40B4-BE49-F238E27FC236}">
                  <a16:creationId xmlns:a16="http://schemas.microsoft.com/office/drawing/2014/main" id="{2C8D7EF3-1374-42E3-ADF2-47F18C93C346}"/>
                </a:ext>
              </a:extLst>
            </p:cNvPr>
            <p:cNvSpPr/>
            <p:nvPr/>
          </p:nvSpPr>
          <p:spPr>
            <a:xfrm>
              <a:off x="5939254" y="2290982"/>
              <a:ext cx="1987210" cy="28984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00"/>
                </a:spcBef>
              </a:pPr>
              <a:r>
                <a:rPr lang="en-US" sz="1600" b="1" dirty="0">
                  <a:solidFill>
                    <a:schemeClr val="bg1"/>
                  </a:solidFill>
                  <a:cs typeface="Arial" pitchFamily="34" charset="0"/>
                </a:rPr>
                <a:t>CATEGORIE</a:t>
              </a:r>
            </a:p>
          </p:txBody>
        </p:sp>
        <p:sp>
          <p:nvSpPr>
            <p:cNvPr id="47" name="Rechteck 154">
              <a:extLst>
                <a:ext uri="{FF2B5EF4-FFF2-40B4-BE49-F238E27FC236}">
                  <a16:creationId xmlns:a16="http://schemas.microsoft.com/office/drawing/2014/main" id="{AE84A417-671F-479C-B627-279AF5FE2B6D}"/>
                </a:ext>
              </a:extLst>
            </p:cNvPr>
            <p:cNvSpPr/>
            <p:nvPr/>
          </p:nvSpPr>
          <p:spPr>
            <a:xfrm>
              <a:off x="5832609" y="2523665"/>
              <a:ext cx="2058087" cy="43025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333">
                  <a:solidFill>
                    <a:schemeClr val="bg1"/>
                  </a:solidFill>
                  <a:cs typeface="Arial" pitchFamily="34" charset="0"/>
                </a:rPr>
                <a:t>[ Marche principali della categoria – soglia minima 5% ]</a:t>
              </a:r>
              <a:endParaRPr lang="it-IT" sz="1333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uppieren 9224">
            <a:extLst>
              <a:ext uri="{FF2B5EF4-FFF2-40B4-BE49-F238E27FC236}">
                <a16:creationId xmlns:a16="http://schemas.microsoft.com/office/drawing/2014/main" id="{B371D923-FB9E-418B-AA7B-FA6554692BEE}"/>
              </a:ext>
            </a:extLst>
          </p:cNvPr>
          <p:cNvGrpSpPr/>
          <p:nvPr/>
        </p:nvGrpSpPr>
        <p:grpSpPr>
          <a:xfrm>
            <a:off x="3044484" y="4044422"/>
            <a:ext cx="3051516" cy="854985"/>
            <a:chOff x="7419535" y="6820773"/>
            <a:chExt cx="2351249" cy="731963"/>
          </a:xfrm>
        </p:grpSpPr>
        <p:sp>
          <p:nvSpPr>
            <p:cNvPr id="49" name="Rechteck 188">
              <a:extLst>
                <a:ext uri="{FF2B5EF4-FFF2-40B4-BE49-F238E27FC236}">
                  <a16:creationId xmlns:a16="http://schemas.microsoft.com/office/drawing/2014/main" id="{8639BE3B-9D25-4407-A466-472E65327D70}"/>
                </a:ext>
              </a:extLst>
            </p:cNvPr>
            <p:cNvSpPr/>
            <p:nvPr/>
          </p:nvSpPr>
          <p:spPr>
            <a:xfrm>
              <a:off x="7423004" y="6820773"/>
              <a:ext cx="2347780" cy="28984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00"/>
                </a:spcBef>
              </a:pPr>
              <a:r>
                <a:rPr lang="it-IT" sz="1600" b="1" dirty="0">
                  <a:solidFill>
                    <a:schemeClr val="bg1"/>
                  </a:solidFill>
                  <a:cs typeface="Arial" pitchFamily="34" charset="0"/>
                </a:rPr>
                <a:t>RILEVAZIONE</a:t>
              </a:r>
              <a:r>
                <a:rPr lang="en-US" sz="1600" b="1" dirty="0">
                  <a:solidFill>
                    <a:schemeClr val="bg1"/>
                  </a:solidFill>
                  <a:cs typeface="Arial" pitchFamily="34" charset="0"/>
                </a:rPr>
                <a:t>: </a:t>
              </a:r>
            </a:p>
          </p:txBody>
        </p:sp>
        <p:sp>
          <p:nvSpPr>
            <p:cNvPr id="50" name="Rechteck 178">
              <a:extLst>
                <a:ext uri="{FF2B5EF4-FFF2-40B4-BE49-F238E27FC236}">
                  <a16:creationId xmlns:a16="http://schemas.microsoft.com/office/drawing/2014/main" id="{67742A2A-DB08-442C-95D0-A8BCB2B5874E}"/>
                </a:ext>
              </a:extLst>
            </p:cNvPr>
            <p:cNvSpPr/>
            <p:nvPr/>
          </p:nvSpPr>
          <p:spPr>
            <a:xfrm>
              <a:off x="7419535" y="7078561"/>
              <a:ext cx="2044053" cy="47417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00"/>
                </a:spcBef>
              </a:pPr>
              <a:r>
                <a:rPr lang="it-IT" sz="1333" dirty="0">
                  <a:solidFill>
                    <a:schemeClr val="bg1"/>
                  </a:solidFill>
                  <a:cs typeface="Arial" pitchFamily="34" charset="0"/>
                </a:rPr>
                <a:t>Novembre-dicembre 2022 </a:t>
              </a:r>
            </a:p>
            <a:p>
              <a:pPr>
                <a:spcBef>
                  <a:spcPts val="400"/>
                </a:spcBef>
              </a:pPr>
              <a:r>
                <a:rPr lang="en-US" sz="1333" dirty="0">
                  <a:solidFill>
                    <a:schemeClr val="bg1"/>
                  </a:solidFill>
                  <a:cs typeface="Arial" pitchFamily="34" charset="0"/>
                </a:rPr>
                <a:t>GfK Panel </a:t>
              </a:r>
              <a:r>
                <a:rPr lang="en-US" sz="1333" dirty="0" err="1">
                  <a:solidFill>
                    <a:schemeClr val="bg1"/>
                  </a:solidFill>
                  <a:cs typeface="Arial" pitchFamily="34" charset="0"/>
                </a:rPr>
                <a:t>Dialogatore</a:t>
              </a:r>
              <a:endParaRPr lang="en-US" sz="1333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51" name="Gruppieren 9231">
            <a:extLst>
              <a:ext uri="{FF2B5EF4-FFF2-40B4-BE49-F238E27FC236}">
                <a16:creationId xmlns:a16="http://schemas.microsoft.com/office/drawing/2014/main" id="{B18BABDF-A02F-4EE6-A0A6-5E0069B0BD35}"/>
              </a:ext>
            </a:extLst>
          </p:cNvPr>
          <p:cNvGrpSpPr/>
          <p:nvPr/>
        </p:nvGrpSpPr>
        <p:grpSpPr>
          <a:xfrm>
            <a:off x="7397829" y="1985708"/>
            <a:ext cx="2348431" cy="1996707"/>
            <a:chOff x="1795263" y="1288088"/>
            <a:chExt cx="1809509" cy="1709400"/>
          </a:xfrm>
        </p:grpSpPr>
        <p:sp>
          <p:nvSpPr>
            <p:cNvPr id="52" name="Rechteck 175">
              <a:extLst>
                <a:ext uri="{FF2B5EF4-FFF2-40B4-BE49-F238E27FC236}">
                  <a16:creationId xmlns:a16="http://schemas.microsoft.com/office/drawing/2014/main" id="{3D3E35EE-EF42-469A-8AF6-CF5B4BC45C8A}"/>
                </a:ext>
              </a:extLst>
            </p:cNvPr>
            <p:cNvSpPr/>
            <p:nvPr/>
          </p:nvSpPr>
          <p:spPr>
            <a:xfrm>
              <a:off x="1795263" y="1288088"/>
              <a:ext cx="1551678" cy="80803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5333" b="1" dirty="0">
                  <a:solidFill>
                    <a:schemeClr val="bg1"/>
                  </a:solidFill>
                  <a:cs typeface="Arial" pitchFamily="34" charset="0"/>
                </a:rPr>
                <a:t>5.000</a:t>
              </a:r>
              <a:endParaRPr lang="de-DE" sz="5333"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Rechteck 176">
              <a:extLst>
                <a:ext uri="{FF2B5EF4-FFF2-40B4-BE49-F238E27FC236}">
                  <a16:creationId xmlns:a16="http://schemas.microsoft.com/office/drawing/2014/main" id="{308BE832-2674-4E9B-AF9A-9924D314D5F2}"/>
                </a:ext>
              </a:extLst>
            </p:cNvPr>
            <p:cNvSpPr/>
            <p:nvPr/>
          </p:nvSpPr>
          <p:spPr>
            <a:xfrm>
              <a:off x="1871648" y="1863971"/>
              <a:ext cx="1197100" cy="289839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00"/>
                </a:spcBef>
              </a:pPr>
              <a:r>
                <a:rPr lang="en-US" sz="1600" b="1" dirty="0">
                  <a:solidFill>
                    <a:schemeClr val="bg1"/>
                  </a:solidFill>
                  <a:cs typeface="Arial" pitchFamily="34" charset="0"/>
                </a:rPr>
                <a:t>INTERVISTATI</a:t>
              </a:r>
            </a:p>
          </p:txBody>
        </p:sp>
        <p:sp>
          <p:nvSpPr>
            <p:cNvPr id="54" name="Rechteck 177">
              <a:extLst>
                <a:ext uri="{FF2B5EF4-FFF2-40B4-BE49-F238E27FC236}">
                  <a16:creationId xmlns:a16="http://schemas.microsoft.com/office/drawing/2014/main" id="{D13FCF62-9D67-49B2-9BC4-75FFA9A6EEF1}"/>
                </a:ext>
              </a:extLst>
            </p:cNvPr>
            <p:cNvSpPr/>
            <p:nvPr/>
          </p:nvSpPr>
          <p:spPr>
            <a:xfrm>
              <a:off x="1811988" y="2088556"/>
              <a:ext cx="1792784" cy="9089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400"/>
                </a:spcBef>
              </a:pPr>
              <a:r>
                <a:rPr lang="it-IT" sz="1333" dirty="0">
                  <a:solidFill>
                    <a:schemeClr val="bg1"/>
                  </a:solidFill>
                  <a:cs typeface="Arial" pitchFamily="34" charset="0"/>
                </a:rPr>
                <a:t>Rappresentativi della popolazione italiana </a:t>
              </a:r>
            </a:p>
            <a:p>
              <a:pPr>
                <a:spcBef>
                  <a:spcPts val="400"/>
                </a:spcBef>
              </a:pPr>
              <a:r>
                <a:rPr lang="it-IT" sz="1100" b="0" i="1" dirty="0">
                  <a:solidFill>
                    <a:schemeClr val="bg1"/>
                  </a:solidFill>
                  <a:ea typeface="Lato Light" panose="020F0502020204030203" pitchFamily="34" charset="0"/>
                  <a:cs typeface="Lato Light" panose="020F0502020204030203" pitchFamily="34" charset="0"/>
                </a:rPr>
                <a:t>(ogni intervistato valuta 3 categorie per un totale di circa </a:t>
              </a:r>
              <a:r>
                <a:rPr lang="it-IT" sz="1100" i="1" dirty="0">
                  <a:solidFill>
                    <a:schemeClr val="bg1"/>
                  </a:solidFill>
                </a:rPr>
                <a:t>15.000 valutazioni)</a:t>
              </a:r>
              <a:endParaRPr lang="it-IT" sz="11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cxnSp>
        <p:nvCxnSpPr>
          <p:cNvPr id="55" name="Gerader Verbinder 9">
            <a:extLst>
              <a:ext uri="{FF2B5EF4-FFF2-40B4-BE49-F238E27FC236}">
                <a16:creationId xmlns:a16="http://schemas.microsoft.com/office/drawing/2014/main" id="{5DB3D5C0-0C12-4026-A9D6-AA8A54BAFC3E}"/>
              </a:ext>
            </a:extLst>
          </p:cNvPr>
          <p:cNvCxnSpPr>
            <a:cxnSpLocks/>
          </p:cNvCxnSpPr>
          <p:nvPr/>
        </p:nvCxnSpPr>
        <p:spPr>
          <a:xfrm>
            <a:off x="410498" y="1476559"/>
            <a:ext cx="10900069" cy="0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14">
            <a:extLst>
              <a:ext uri="{FF2B5EF4-FFF2-40B4-BE49-F238E27FC236}">
                <a16:creationId xmlns:a16="http://schemas.microsoft.com/office/drawing/2014/main" id="{04126122-CEBE-428A-81D4-9E9DDEDBE7BE}"/>
              </a:ext>
            </a:extLst>
          </p:cNvPr>
          <p:cNvCxnSpPr>
            <a:cxnSpLocks/>
          </p:cNvCxnSpPr>
          <p:nvPr/>
        </p:nvCxnSpPr>
        <p:spPr>
          <a:xfrm>
            <a:off x="1957300" y="1528346"/>
            <a:ext cx="0" cy="336443"/>
          </a:xfrm>
          <a:prstGeom prst="line">
            <a:avLst/>
          </a:prstGeom>
          <a:ln w="1905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216">
            <a:extLst>
              <a:ext uri="{FF2B5EF4-FFF2-40B4-BE49-F238E27FC236}">
                <a16:creationId xmlns:a16="http://schemas.microsoft.com/office/drawing/2014/main" id="{BB60B849-72B9-4D54-96A7-C0C1940AB8F3}"/>
              </a:ext>
            </a:extLst>
          </p:cNvPr>
          <p:cNvCxnSpPr>
            <a:cxnSpLocks/>
          </p:cNvCxnSpPr>
          <p:nvPr/>
        </p:nvCxnSpPr>
        <p:spPr>
          <a:xfrm>
            <a:off x="4781647" y="1476560"/>
            <a:ext cx="0" cy="737109"/>
          </a:xfrm>
          <a:prstGeom prst="line">
            <a:avLst/>
          </a:prstGeom>
          <a:ln w="1905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217">
            <a:extLst>
              <a:ext uri="{FF2B5EF4-FFF2-40B4-BE49-F238E27FC236}">
                <a16:creationId xmlns:a16="http://schemas.microsoft.com/office/drawing/2014/main" id="{E506C424-5D11-4088-9D5F-9D02F67511AD}"/>
              </a:ext>
            </a:extLst>
          </p:cNvPr>
          <p:cNvCxnSpPr>
            <a:cxnSpLocks/>
          </p:cNvCxnSpPr>
          <p:nvPr/>
        </p:nvCxnSpPr>
        <p:spPr>
          <a:xfrm>
            <a:off x="8127252" y="1505849"/>
            <a:ext cx="0" cy="510356"/>
          </a:xfrm>
          <a:prstGeom prst="line">
            <a:avLst/>
          </a:prstGeom>
          <a:ln w="19050"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218">
            <a:extLst>
              <a:ext uri="{FF2B5EF4-FFF2-40B4-BE49-F238E27FC236}">
                <a16:creationId xmlns:a16="http://schemas.microsoft.com/office/drawing/2014/main" id="{3727620A-E93B-45E3-9550-159695310C55}"/>
              </a:ext>
            </a:extLst>
          </p:cNvPr>
          <p:cNvCxnSpPr>
            <a:cxnSpLocks/>
          </p:cNvCxnSpPr>
          <p:nvPr/>
        </p:nvCxnSpPr>
        <p:spPr>
          <a:xfrm>
            <a:off x="410497" y="1477769"/>
            <a:ext cx="0" cy="3632394"/>
          </a:xfrm>
          <a:prstGeom prst="line">
            <a:avLst/>
          </a:prstGeom>
          <a:ln w="190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58">
            <a:extLst>
              <a:ext uri="{FF2B5EF4-FFF2-40B4-BE49-F238E27FC236}">
                <a16:creationId xmlns:a16="http://schemas.microsoft.com/office/drawing/2014/main" id="{A44ACCB8-FE8F-490F-9A67-0A50BE2833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9775" y="3812742"/>
            <a:ext cx="1089109" cy="1164773"/>
          </a:xfrm>
          <a:custGeom>
            <a:avLst/>
            <a:gdLst>
              <a:gd name="T0" fmla="*/ 512 w 1957"/>
              <a:gd name="T1" fmla="*/ 1353 h 2105"/>
              <a:gd name="T2" fmla="*/ 992 w 1957"/>
              <a:gd name="T3" fmla="*/ 1353 h 2105"/>
              <a:gd name="T4" fmla="*/ 1731 w 1957"/>
              <a:gd name="T5" fmla="*/ 702 h 2105"/>
              <a:gd name="T6" fmla="*/ 1703 w 1957"/>
              <a:gd name="T7" fmla="*/ 897 h 2105"/>
              <a:gd name="T8" fmla="*/ 1522 w 1957"/>
              <a:gd name="T9" fmla="*/ 907 h 2105"/>
              <a:gd name="T10" fmla="*/ 1403 w 1957"/>
              <a:gd name="T11" fmla="*/ 811 h 2105"/>
              <a:gd name="T12" fmla="*/ 1297 w 1957"/>
              <a:gd name="T13" fmla="*/ 892 h 2105"/>
              <a:gd name="T14" fmla="*/ 1431 w 1957"/>
              <a:gd name="T15" fmla="*/ 1030 h 2105"/>
              <a:gd name="T16" fmla="*/ 1315 w 1957"/>
              <a:gd name="T17" fmla="*/ 1229 h 2105"/>
              <a:gd name="T18" fmla="*/ 1448 w 1957"/>
              <a:gd name="T19" fmla="*/ 1340 h 2105"/>
              <a:gd name="T20" fmla="*/ 1480 w 1957"/>
              <a:gd name="T21" fmla="*/ 1543 h 2105"/>
              <a:gd name="T22" fmla="*/ 1262 w 1957"/>
              <a:gd name="T23" fmla="*/ 1621 h 2105"/>
              <a:gd name="T24" fmla="*/ 1293 w 1957"/>
              <a:gd name="T25" fmla="*/ 1790 h 2105"/>
              <a:gd name="T26" fmla="*/ 1187 w 1957"/>
              <a:gd name="T27" fmla="*/ 1966 h 2105"/>
              <a:gd name="T28" fmla="*/ 1081 w 1957"/>
              <a:gd name="T29" fmla="*/ 1966 h 2105"/>
              <a:gd name="T30" fmla="*/ 920 w 1957"/>
              <a:gd name="T31" fmla="*/ 1904 h 2105"/>
              <a:gd name="T32" fmla="*/ 803 w 1957"/>
              <a:gd name="T33" fmla="*/ 2103 h 2105"/>
              <a:gd name="T34" fmla="*/ 609 w 1957"/>
              <a:gd name="T35" fmla="*/ 2034 h 2105"/>
              <a:gd name="T36" fmla="*/ 527 w 1957"/>
              <a:gd name="T37" fmla="*/ 1883 h 2105"/>
              <a:gd name="T38" fmla="*/ 310 w 1957"/>
              <a:gd name="T39" fmla="*/ 1961 h 2105"/>
              <a:gd name="T40" fmla="*/ 205 w 1957"/>
              <a:gd name="T41" fmla="*/ 1783 h 2105"/>
              <a:gd name="T42" fmla="*/ 239 w 1957"/>
              <a:gd name="T43" fmla="*/ 1615 h 2105"/>
              <a:gd name="T44" fmla="*/ 23 w 1957"/>
              <a:gd name="T45" fmla="*/ 1535 h 2105"/>
              <a:gd name="T46" fmla="*/ 57 w 1957"/>
              <a:gd name="T47" fmla="*/ 1331 h 2105"/>
              <a:gd name="T48" fmla="*/ 190 w 1957"/>
              <a:gd name="T49" fmla="*/ 1225 h 2105"/>
              <a:gd name="T50" fmla="*/ 76 w 1957"/>
              <a:gd name="T51" fmla="*/ 1024 h 2105"/>
              <a:gd name="T52" fmla="*/ 133 w 1957"/>
              <a:gd name="T53" fmla="*/ 926 h 2105"/>
              <a:gd name="T54" fmla="*/ 364 w 1957"/>
              <a:gd name="T55" fmla="*/ 927 h 2105"/>
              <a:gd name="T56" fmla="*/ 392 w 1957"/>
              <a:gd name="T57" fmla="*/ 758 h 2105"/>
              <a:gd name="T58" fmla="*/ 498 w 1957"/>
              <a:gd name="T59" fmla="*/ 645 h 2105"/>
              <a:gd name="T60" fmla="*/ 652 w 1957"/>
              <a:gd name="T61" fmla="*/ 665 h 2105"/>
              <a:gd name="T62" fmla="*/ 781 w 1957"/>
              <a:gd name="T63" fmla="*/ 777 h 2105"/>
              <a:gd name="T64" fmla="*/ 959 w 1957"/>
              <a:gd name="T65" fmla="*/ 630 h 2105"/>
              <a:gd name="T66" fmla="*/ 1065 w 1957"/>
              <a:gd name="T67" fmla="*/ 669 h 2105"/>
              <a:gd name="T68" fmla="*/ 1122 w 1957"/>
              <a:gd name="T69" fmla="*/ 733 h 2105"/>
              <a:gd name="T70" fmla="*/ 1144 w 1957"/>
              <a:gd name="T71" fmla="*/ 583 h 2105"/>
              <a:gd name="T72" fmla="*/ 989 w 1957"/>
              <a:gd name="T73" fmla="*/ 461 h 2105"/>
              <a:gd name="T74" fmla="*/ 1071 w 1957"/>
              <a:gd name="T75" fmla="*/ 300 h 2105"/>
              <a:gd name="T76" fmla="*/ 1213 w 1957"/>
              <a:gd name="T77" fmla="*/ 244 h 2105"/>
              <a:gd name="T78" fmla="*/ 1241 w 1957"/>
              <a:gd name="T79" fmla="*/ 49 h 2105"/>
              <a:gd name="T80" fmla="*/ 1329 w 1957"/>
              <a:gd name="T81" fmla="*/ 11 h 2105"/>
              <a:gd name="T82" fmla="*/ 1489 w 1957"/>
              <a:gd name="T83" fmla="*/ 128 h 2105"/>
              <a:gd name="T84" fmla="*/ 1627 w 1957"/>
              <a:gd name="T85" fmla="*/ 65 h 2105"/>
              <a:gd name="T86" fmla="*/ 1800 w 1957"/>
              <a:gd name="T87" fmla="*/ 119 h 2105"/>
              <a:gd name="T88" fmla="*/ 1780 w 1957"/>
              <a:gd name="T89" fmla="*/ 315 h 2105"/>
              <a:gd name="T90" fmla="*/ 1902 w 1957"/>
              <a:gd name="T91" fmla="*/ 403 h 2105"/>
              <a:gd name="T92" fmla="*/ 1943 w 1957"/>
              <a:gd name="T93" fmla="*/ 580 h 2105"/>
              <a:gd name="T94" fmla="*/ 1762 w 1957"/>
              <a:gd name="T95" fmla="*/ 661 h 2105"/>
              <a:gd name="T96" fmla="*/ 1264 w 1957"/>
              <a:gd name="T97" fmla="*/ 899 h 2105"/>
              <a:gd name="T98" fmla="*/ 1144 w 1957"/>
              <a:gd name="T99" fmla="*/ 827 h 2105"/>
              <a:gd name="T100" fmla="*/ 1116 w 1957"/>
              <a:gd name="T101" fmla="*/ 776 h 2105"/>
              <a:gd name="T102" fmla="*/ 1145 w 1957"/>
              <a:gd name="T103" fmla="*/ 931 h 2105"/>
              <a:gd name="T104" fmla="*/ 1472 w 1957"/>
              <a:gd name="T105" fmla="*/ 313 h 2105"/>
              <a:gd name="T106" fmla="*/ 1472 w 1957"/>
              <a:gd name="T107" fmla="*/ 633 h 2105"/>
              <a:gd name="T108" fmla="*/ 1472 w 1957"/>
              <a:gd name="T109" fmla="*/ 313 h 2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57" h="2105">
                <a:moveTo>
                  <a:pt x="752" y="1113"/>
                </a:moveTo>
                <a:cubicBezTo>
                  <a:pt x="620" y="1113"/>
                  <a:pt x="512" y="1221"/>
                  <a:pt x="512" y="1353"/>
                </a:cubicBezTo>
                <a:cubicBezTo>
                  <a:pt x="512" y="1485"/>
                  <a:pt x="620" y="1593"/>
                  <a:pt x="752" y="1593"/>
                </a:cubicBezTo>
                <a:cubicBezTo>
                  <a:pt x="884" y="1593"/>
                  <a:pt x="992" y="1485"/>
                  <a:pt x="992" y="1353"/>
                </a:cubicBezTo>
                <a:cubicBezTo>
                  <a:pt x="992" y="1221"/>
                  <a:pt x="884" y="1113"/>
                  <a:pt x="752" y="1113"/>
                </a:cubicBezTo>
                <a:close/>
                <a:moveTo>
                  <a:pt x="1731" y="702"/>
                </a:moveTo>
                <a:cubicBezTo>
                  <a:pt x="1748" y="811"/>
                  <a:pt x="1748" y="811"/>
                  <a:pt x="1748" y="811"/>
                </a:cubicBezTo>
                <a:cubicBezTo>
                  <a:pt x="1753" y="847"/>
                  <a:pt x="1735" y="881"/>
                  <a:pt x="1703" y="897"/>
                </a:cubicBezTo>
                <a:cubicBezTo>
                  <a:pt x="1675" y="911"/>
                  <a:pt x="1645" y="924"/>
                  <a:pt x="1615" y="934"/>
                </a:cubicBezTo>
                <a:cubicBezTo>
                  <a:pt x="1581" y="946"/>
                  <a:pt x="1544" y="935"/>
                  <a:pt x="1522" y="907"/>
                </a:cubicBezTo>
                <a:cubicBezTo>
                  <a:pt x="1455" y="818"/>
                  <a:pt x="1455" y="818"/>
                  <a:pt x="1455" y="818"/>
                </a:cubicBezTo>
                <a:cubicBezTo>
                  <a:pt x="1438" y="817"/>
                  <a:pt x="1420" y="815"/>
                  <a:pt x="1403" y="811"/>
                </a:cubicBezTo>
                <a:cubicBezTo>
                  <a:pt x="1317" y="881"/>
                  <a:pt x="1317" y="881"/>
                  <a:pt x="1317" y="881"/>
                </a:cubicBezTo>
                <a:cubicBezTo>
                  <a:pt x="1311" y="885"/>
                  <a:pt x="1304" y="889"/>
                  <a:pt x="1297" y="892"/>
                </a:cubicBezTo>
                <a:cubicBezTo>
                  <a:pt x="1328" y="891"/>
                  <a:pt x="1358" y="907"/>
                  <a:pt x="1375" y="933"/>
                </a:cubicBezTo>
                <a:cubicBezTo>
                  <a:pt x="1396" y="964"/>
                  <a:pt x="1415" y="996"/>
                  <a:pt x="1431" y="1030"/>
                </a:cubicBezTo>
                <a:cubicBezTo>
                  <a:pt x="1448" y="1066"/>
                  <a:pt x="1441" y="1107"/>
                  <a:pt x="1413" y="1135"/>
                </a:cubicBezTo>
                <a:cubicBezTo>
                  <a:pt x="1315" y="1229"/>
                  <a:pt x="1315" y="1229"/>
                  <a:pt x="1315" y="1229"/>
                </a:cubicBezTo>
                <a:cubicBezTo>
                  <a:pt x="1319" y="1247"/>
                  <a:pt x="1322" y="1265"/>
                  <a:pt x="1324" y="1283"/>
                </a:cubicBezTo>
                <a:cubicBezTo>
                  <a:pt x="1448" y="1340"/>
                  <a:pt x="1448" y="1340"/>
                  <a:pt x="1448" y="1340"/>
                </a:cubicBezTo>
                <a:cubicBezTo>
                  <a:pt x="1483" y="1356"/>
                  <a:pt x="1504" y="1393"/>
                  <a:pt x="1500" y="1432"/>
                </a:cubicBezTo>
                <a:cubicBezTo>
                  <a:pt x="1500" y="1432"/>
                  <a:pt x="1482" y="1534"/>
                  <a:pt x="1480" y="1543"/>
                </a:cubicBezTo>
                <a:cubicBezTo>
                  <a:pt x="1470" y="1581"/>
                  <a:pt x="1438" y="1608"/>
                  <a:pt x="1398" y="1611"/>
                </a:cubicBezTo>
                <a:cubicBezTo>
                  <a:pt x="1262" y="1621"/>
                  <a:pt x="1262" y="1621"/>
                  <a:pt x="1262" y="1621"/>
                </a:cubicBezTo>
                <a:cubicBezTo>
                  <a:pt x="1254" y="1637"/>
                  <a:pt x="1245" y="1652"/>
                  <a:pt x="1235" y="1667"/>
                </a:cubicBezTo>
                <a:cubicBezTo>
                  <a:pt x="1293" y="1790"/>
                  <a:pt x="1293" y="1790"/>
                  <a:pt x="1293" y="1790"/>
                </a:cubicBezTo>
                <a:cubicBezTo>
                  <a:pt x="1310" y="1826"/>
                  <a:pt x="1302" y="1867"/>
                  <a:pt x="1274" y="1895"/>
                </a:cubicBezTo>
                <a:cubicBezTo>
                  <a:pt x="1246" y="1921"/>
                  <a:pt x="1218" y="1944"/>
                  <a:pt x="1187" y="1966"/>
                </a:cubicBezTo>
                <a:cubicBezTo>
                  <a:pt x="1155" y="1989"/>
                  <a:pt x="1112" y="1989"/>
                  <a:pt x="1080" y="1966"/>
                </a:cubicBezTo>
                <a:cubicBezTo>
                  <a:pt x="1081" y="1966"/>
                  <a:pt x="1081" y="1966"/>
                  <a:pt x="1081" y="1966"/>
                </a:cubicBezTo>
                <a:cubicBezTo>
                  <a:pt x="970" y="1887"/>
                  <a:pt x="970" y="1887"/>
                  <a:pt x="970" y="1887"/>
                </a:cubicBezTo>
                <a:cubicBezTo>
                  <a:pt x="954" y="1893"/>
                  <a:pt x="938" y="1899"/>
                  <a:pt x="920" y="1904"/>
                </a:cubicBezTo>
                <a:cubicBezTo>
                  <a:pt x="886" y="2035"/>
                  <a:pt x="886" y="2035"/>
                  <a:pt x="886" y="2035"/>
                </a:cubicBezTo>
                <a:cubicBezTo>
                  <a:pt x="876" y="2074"/>
                  <a:pt x="843" y="2101"/>
                  <a:pt x="803" y="2103"/>
                </a:cubicBezTo>
                <a:cubicBezTo>
                  <a:pt x="766" y="2105"/>
                  <a:pt x="728" y="2105"/>
                  <a:pt x="691" y="2102"/>
                </a:cubicBezTo>
                <a:cubicBezTo>
                  <a:pt x="652" y="2099"/>
                  <a:pt x="619" y="2072"/>
                  <a:pt x="609" y="2034"/>
                </a:cubicBezTo>
                <a:cubicBezTo>
                  <a:pt x="576" y="1902"/>
                  <a:pt x="576" y="1902"/>
                  <a:pt x="576" y="1902"/>
                </a:cubicBezTo>
                <a:cubicBezTo>
                  <a:pt x="560" y="1897"/>
                  <a:pt x="543" y="1890"/>
                  <a:pt x="527" y="1883"/>
                </a:cubicBezTo>
                <a:cubicBezTo>
                  <a:pt x="416" y="1962"/>
                  <a:pt x="416" y="1962"/>
                  <a:pt x="416" y="1962"/>
                </a:cubicBezTo>
                <a:cubicBezTo>
                  <a:pt x="384" y="1985"/>
                  <a:pt x="341" y="1984"/>
                  <a:pt x="310" y="1961"/>
                </a:cubicBezTo>
                <a:cubicBezTo>
                  <a:pt x="280" y="1939"/>
                  <a:pt x="250" y="1914"/>
                  <a:pt x="224" y="1887"/>
                </a:cubicBezTo>
                <a:cubicBezTo>
                  <a:pt x="195" y="1860"/>
                  <a:pt x="188" y="1819"/>
                  <a:pt x="205" y="1783"/>
                </a:cubicBezTo>
                <a:cubicBezTo>
                  <a:pt x="265" y="1660"/>
                  <a:pt x="265" y="1660"/>
                  <a:pt x="265" y="1660"/>
                </a:cubicBezTo>
                <a:cubicBezTo>
                  <a:pt x="256" y="1646"/>
                  <a:pt x="247" y="1631"/>
                  <a:pt x="239" y="1615"/>
                </a:cubicBezTo>
                <a:cubicBezTo>
                  <a:pt x="103" y="1604"/>
                  <a:pt x="103" y="1604"/>
                  <a:pt x="103" y="1604"/>
                </a:cubicBezTo>
                <a:cubicBezTo>
                  <a:pt x="64" y="1601"/>
                  <a:pt x="32" y="1573"/>
                  <a:pt x="23" y="1535"/>
                </a:cubicBezTo>
                <a:cubicBezTo>
                  <a:pt x="14" y="1498"/>
                  <a:pt x="8" y="1461"/>
                  <a:pt x="4" y="1423"/>
                </a:cubicBezTo>
                <a:cubicBezTo>
                  <a:pt x="0" y="1384"/>
                  <a:pt x="21" y="1347"/>
                  <a:pt x="57" y="1331"/>
                </a:cubicBezTo>
                <a:cubicBezTo>
                  <a:pt x="181" y="1276"/>
                  <a:pt x="181" y="1276"/>
                  <a:pt x="181" y="1276"/>
                </a:cubicBezTo>
                <a:cubicBezTo>
                  <a:pt x="183" y="1259"/>
                  <a:pt x="186" y="1241"/>
                  <a:pt x="190" y="1225"/>
                </a:cubicBezTo>
                <a:cubicBezTo>
                  <a:pt x="94" y="1129"/>
                  <a:pt x="94" y="1129"/>
                  <a:pt x="94" y="1129"/>
                </a:cubicBezTo>
                <a:cubicBezTo>
                  <a:pt x="66" y="1101"/>
                  <a:pt x="59" y="1059"/>
                  <a:pt x="76" y="1024"/>
                </a:cubicBezTo>
                <a:cubicBezTo>
                  <a:pt x="84" y="1007"/>
                  <a:pt x="94" y="991"/>
                  <a:pt x="103" y="974"/>
                </a:cubicBezTo>
                <a:cubicBezTo>
                  <a:pt x="113" y="957"/>
                  <a:pt x="123" y="941"/>
                  <a:pt x="133" y="926"/>
                </a:cubicBezTo>
                <a:cubicBezTo>
                  <a:pt x="156" y="894"/>
                  <a:pt x="195" y="879"/>
                  <a:pt x="233" y="890"/>
                </a:cubicBezTo>
                <a:cubicBezTo>
                  <a:pt x="364" y="927"/>
                  <a:pt x="364" y="927"/>
                  <a:pt x="364" y="927"/>
                </a:cubicBezTo>
                <a:cubicBezTo>
                  <a:pt x="377" y="915"/>
                  <a:pt x="390" y="904"/>
                  <a:pt x="404" y="893"/>
                </a:cubicBezTo>
                <a:cubicBezTo>
                  <a:pt x="392" y="758"/>
                  <a:pt x="392" y="758"/>
                  <a:pt x="392" y="758"/>
                </a:cubicBezTo>
                <a:cubicBezTo>
                  <a:pt x="388" y="719"/>
                  <a:pt x="410" y="682"/>
                  <a:pt x="446" y="667"/>
                </a:cubicBezTo>
                <a:cubicBezTo>
                  <a:pt x="462" y="659"/>
                  <a:pt x="480" y="652"/>
                  <a:pt x="498" y="645"/>
                </a:cubicBezTo>
                <a:cubicBezTo>
                  <a:pt x="516" y="639"/>
                  <a:pt x="534" y="633"/>
                  <a:pt x="552" y="628"/>
                </a:cubicBezTo>
                <a:cubicBezTo>
                  <a:pt x="590" y="617"/>
                  <a:pt x="630" y="632"/>
                  <a:pt x="652" y="665"/>
                </a:cubicBezTo>
                <a:cubicBezTo>
                  <a:pt x="728" y="777"/>
                  <a:pt x="728" y="777"/>
                  <a:pt x="728" y="777"/>
                </a:cubicBezTo>
                <a:cubicBezTo>
                  <a:pt x="746" y="777"/>
                  <a:pt x="764" y="777"/>
                  <a:pt x="781" y="777"/>
                </a:cubicBezTo>
                <a:cubicBezTo>
                  <a:pt x="859" y="665"/>
                  <a:pt x="859" y="665"/>
                  <a:pt x="859" y="665"/>
                </a:cubicBezTo>
                <a:cubicBezTo>
                  <a:pt x="882" y="633"/>
                  <a:pt x="921" y="619"/>
                  <a:pt x="959" y="630"/>
                </a:cubicBezTo>
                <a:cubicBezTo>
                  <a:pt x="978" y="636"/>
                  <a:pt x="996" y="641"/>
                  <a:pt x="1012" y="648"/>
                </a:cubicBezTo>
                <a:cubicBezTo>
                  <a:pt x="1030" y="654"/>
                  <a:pt x="1047" y="661"/>
                  <a:pt x="1065" y="669"/>
                </a:cubicBezTo>
                <a:cubicBezTo>
                  <a:pt x="1095" y="683"/>
                  <a:pt x="1116" y="712"/>
                  <a:pt x="1118" y="745"/>
                </a:cubicBezTo>
                <a:cubicBezTo>
                  <a:pt x="1119" y="741"/>
                  <a:pt x="1120" y="737"/>
                  <a:pt x="1122" y="733"/>
                </a:cubicBezTo>
                <a:cubicBezTo>
                  <a:pt x="1164" y="631"/>
                  <a:pt x="1164" y="631"/>
                  <a:pt x="1164" y="631"/>
                </a:cubicBezTo>
                <a:cubicBezTo>
                  <a:pt x="1157" y="615"/>
                  <a:pt x="1150" y="599"/>
                  <a:pt x="1144" y="583"/>
                </a:cubicBezTo>
                <a:cubicBezTo>
                  <a:pt x="1042" y="543"/>
                  <a:pt x="1042" y="543"/>
                  <a:pt x="1042" y="543"/>
                </a:cubicBezTo>
                <a:cubicBezTo>
                  <a:pt x="1008" y="529"/>
                  <a:pt x="987" y="497"/>
                  <a:pt x="989" y="461"/>
                </a:cubicBezTo>
                <a:cubicBezTo>
                  <a:pt x="991" y="429"/>
                  <a:pt x="995" y="398"/>
                  <a:pt x="1001" y="366"/>
                </a:cubicBezTo>
                <a:cubicBezTo>
                  <a:pt x="1008" y="331"/>
                  <a:pt x="1036" y="305"/>
                  <a:pt x="1071" y="300"/>
                </a:cubicBezTo>
                <a:cubicBezTo>
                  <a:pt x="1182" y="285"/>
                  <a:pt x="1182" y="285"/>
                  <a:pt x="1182" y="285"/>
                </a:cubicBezTo>
                <a:cubicBezTo>
                  <a:pt x="1191" y="271"/>
                  <a:pt x="1202" y="257"/>
                  <a:pt x="1213" y="244"/>
                </a:cubicBezTo>
                <a:cubicBezTo>
                  <a:pt x="1196" y="135"/>
                  <a:pt x="1196" y="135"/>
                  <a:pt x="1196" y="135"/>
                </a:cubicBezTo>
                <a:cubicBezTo>
                  <a:pt x="1191" y="99"/>
                  <a:pt x="1209" y="65"/>
                  <a:pt x="1241" y="49"/>
                </a:cubicBezTo>
                <a:cubicBezTo>
                  <a:pt x="1255" y="42"/>
                  <a:pt x="1269" y="35"/>
                  <a:pt x="1284" y="29"/>
                </a:cubicBezTo>
                <a:cubicBezTo>
                  <a:pt x="1290" y="27"/>
                  <a:pt x="1326" y="11"/>
                  <a:pt x="1329" y="11"/>
                </a:cubicBezTo>
                <a:cubicBezTo>
                  <a:pt x="1363" y="0"/>
                  <a:pt x="1400" y="11"/>
                  <a:pt x="1422" y="39"/>
                </a:cubicBezTo>
                <a:cubicBezTo>
                  <a:pt x="1489" y="128"/>
                  <a:pt x="1489" y="128"/>
                  <a:pt x="1489" y="128"/>
                </a:cubicBezTo>
                <a:cubicBezTo>
                  <a:pt x="1506" y="129"/>
                  <a:pt x="1524" y="131"/>
                  <a:pt x="1541" y="135"/>
                </a:cubicBezTo>
                <a:cubicBezTo>
                  <a:pt x="1627" y="65"/>
                  <a:pt x="1627" y="65"/>
                  <a:pt x="1627" y="65"/>
                </a:cubicBezTo>
                <a:cubicBezTo>
                  <a:pt x="1655" y="43"/>
                  <a:pt x="1694" y="41"/>
                  <a:pt x="1724" y="61"/>
                </a:cubicBezTo>
                <a:cubicBezTo>
                  <a:pt x="1750" y="78"/>
                  <a:pt x="1776" y="97"/>
                  <a:pt x="1800" y="119"/>
                </a:cubicBezTo>
                <a:cubicBezTo>
                  <a:pt x="1827" y="142"/>
                  <a:pt x="1836" y="179"/>
                  <a:pt x="1822" y="213"/>
                </a:cubicBezTo>
                <a:cubicBezTo>
                  <a:pt x="1780" y="315"/>
                  <a:pt x="1780" y="315"/>
                  <a:pt x="1780" y="315"/>
                </a:cubicBezTo>
                <a:cubicBezTo>
                  <a:pt x="1788" y="331"/>
                  <a:pt x="1794" y="347"/>
                  <a:pt x="1800" y="363"/>
                </a:cubicBezTo>
                <a:cubicBezTo>
                  <a:pt x="1902" y="403"/>
                  <a:pt x="1902" y="403"/>
                  <a:pt x="1902" y="403"/>
                </a:cubicBezTo>
                <a:cubicBezTo>
                  <a:pt x="1936" y="417"/>
                  <a:pt x="1957" y="449"/>
                  <a:pt x="1955" y="485"/>
                </a:cubicBezTo>
                <a:cubicBezTo>
                  <a:pt x="1953" y="517"/>
                  <a:pt x="1949" y="548"/>
                  <a:pt x="1943" y="580"/>
                </a:cubicBezTo>
                <a:cubicBezTo>
                  <a:pt x="1936" y="615"/>
                  <a:pt x="1908" y="641"/>
                  <a:pt x="1873" y="646"/>
                </a:cubicBezTo>
                <a:cubicBezTo>
                  <a:pt x="1762" y="661"/>
                  <a:pt x="1762" y="661"/>
                  <a:pt x="1762" y="661"/>
                </a:cubicBezTo>
                <a:cubicBezTo>
                  <a:pt x="1753" y="675"/>
                  <a:pt x="1742" y="689"/>
                  <a:pt x="1731" y="702"/>
                </a:cubicBezTo>
                <a:close/>
                <a:moveTo>
                  <a:pt x="1264" y="899"/>
                </a:moveTo>
                <a:cubicBezTo>
                  <a:pt x="1249" y="898"/>
                  <a:pt x="1234" y="894"/>
                  <a:pt x="1220" y="885"/>
                </a:cubicBezTo>
                <a:cubicBezTo>
                  <a:pt x="1194" y="867"/>
                  <a:pt x="1168" y="849"/>
                  <a:pt x="1144" y="827"/>
                </a:cubicBezTo>
                <a:cubicBezTo>
                  <a:pt x="1130" y="816"/>
                  <a:pt x="1122" y="801"/>
                  <a:pt x="1118" y="784"/>
                </a:cubicBezTo>
                <a:cubicBezTo>
                  <a:pt x="1117" y="781"/>
                  <a:pt x="1116" y="779"/>
                  <a:pt x="1116" y="776"/>
                </a:cubicBezTo>
                <a:cubicBezTo>
                  <a:pt x="1104" y="897"/>
                  <a:pt x="1104" y="897"/>
                  <a:pt x="1104" y="897"/>
                </a:cubicBezTo>
                <a:cubicBezTo>
                  <a:pt x="1118" y="907"/>
                  <a:pt x="1132" y="919"/>
                  <a:pt x="1145" y="931"/>
                </a:cubicBezTo>
                <a:lnTo>
                  <a:pt x="1264" y="899"/>
                </a:lnTo>
                <a:close/>
                <a:moveTo>
                  <a:pt x="1472" y="313"/>
                </a:moveTo>
                <a:cubicBezTo>
                  <a:pt x="1384" y="313"/>
                  <a:pt x="1312" y="385"/>
                  <a:pt x="1312" y="473"/>
                </a:cubicBezTo>
                <a:cubicBezTo>
                  <a:pt x="1312" y="561"/>
                  <a:pt x="1384" y="633"/>
                  <a:pt x="1472" y="633"/>
                </a:cubicBezTo>
                <a:cubicBezTo>
                  <a:pt x="1560" y="633"/>
                  <a:pt x="1632" y="561"/>
                  <a:pt x="1632" y="473"/>
                </a:cubicBezTo>
                <a:cubicBezTo>
                  <a:pt x="1632" y="385"/>
                  <a:pt x="1560" y="313"/>
                  <a:pt x="1472" y="313"/>
                </a:cubicBezTo>
                <a:close/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2844" dirty="0"/>
          </a:p>
        </p:txBody>
      </p:sp>
      <p:grpSp>
        <p:nvGrpSpPr>
          <p:cNvPr id="62" name="Gruppieren 190">
            <a:extLst>
              <a:ext uri="{FF2B5EF4-FFF2-40B4-BE49-F238E27FC236}">
                <a16:creationId xmlns:a16="http://schemas.microsoft.com/office/drawing/2014/main" id="{B17352BF-FC4C-45C6-A2D1-32579954D079}"/>
              </a:ext>
            </a:extLst>
          </p:cNvPr>
          <p:cNvGrpSpPr/>
          <p:nvPr/>
        </p:nvGrpSpPr>
        <p:grpSpPr>
          <a:xfrm rot="18000000">
            <a:off x="5312666" y="1629761"/>
            <a:ext cx="740092" cy="777548"/>
            <a:chOff x="5248450" y="1267859"/>
            <a:chExt cx="384502" cy="363575"/>
          </a:xfrm>
          <a:noFill/>
        </p:grpSpPr>
        <p:sp>
          <p:nvSpPr>
            <p:cNvPr id="63" name="Freeform 32">
              <a:extLst>
                <a:ext uri="{FF2B5EF4-FFF2-40B4-BE49-F238E27FC236}">
                  <a16:creationId xmlns:a16="http://schemas.microsoft.com/office/drawing/2014/main" id="{8DE279AD-BDC9-4A88-A6EA-4748777E8E43}"/>
                </a:ext>
              </a:extLst>
            </p:cNvPr>
            <p:cNvSpPr>
              <a:spLocks/>
            </p:cNvSpPr>
            <p:nvPr/>
          </p:nvSpPr>
          <p:spPr bwMode="auto">
            <a:xfrm rot="3600000">
              <a:off x="5360979" y="1363095"/>
              <a:ext cx="155810" cy="380867"/>
            </a:xfrm>
            <a:custGeom>
              <a:avLst/>
              <a:gdLst>
                <a:gd name="T0" fmla="*/ 40 w 720"/>
                <a:gd name="T1" fmla="*/ 0 h 1760"/>
                <a:gd name="T2" fmla="*/ 320 w 720"/>
                <a:gd name="T3" fmla="*/ 0 h 1760"/>
                <a:gd name="T4" fmla="*/ 320 w 720"/>
                <a:gd name="T5" fmla="*/ 291 h 1760"/>
                <a:gd name="T6" fmla="*/ 280 w 720"/>
                <a:gd name="T7" fmla="*/ 360 h 1760"/>
                <a:gd name="T8" fmla="*/ 360 w 720"/>
                <a:gd name="T9" fmla="*/ 440 h 1760"/>
                <a:gd name="T10" fmla="*/ 440 w 720"/>
                <a:gd name="T11" fmla="*/ 360 h 1760"/>
                <a:gd name="T12" fmla="*/ 400 w 720"/>
                <a:gd name="T13" fmla="*/ 291 h 1760"/>
                <a:gd name="T14" fmla="*/ 400 w 720"/>
                <a:gd name="T15" fmla="*/ 0 h 1760"/>
                <a:gd name="T16" fmla="*/ 680 w 720"/>
                <a:gd name="T17" fmla="*/ 0 h 1760"/>
                <a:gd name="T18" fmla="*/ 720 w 720"/>
                <a:gd name="T19" fmla="*/ 40 h 1760"/>
                <a:gd name="T20" fmla="*/ 720 w 720"/>
                <a:gd name="T21" fmla="*/ 1720 h 1760"/>
                <a:gd name="T22" fmla="*/ 680 w 720"/>
                <a:gd name="T23" fmla="*/ 1760 h 1760"/>
                <a:gd name="T24" fmla="*/ 40 w 720"/>
                <a:gd name="T25" fmla="*/ 1760 h 1760"/>
                <a:gd name="T26" fmla="*/ 0 w 720"/>
                <a:gd name="T27" fmla="*/ 1720 h 1760"/>
                <a:gd name="T28" fmla="*/ 0 w 720"/>
                <a:gd name="T29" fmla="*/ 153 h 1760"/>
                <a:gd name="T30" fmla="*/ 32 w 720"/>
                <a:gd name="T31" fmla="*/ 1 h 1760"/>
                <a:gd name="T32" fmla="*/ 40 w 720"/>
                <a:gd name="T33" fmla="*/ 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0" h="1760">
                  <a:moveTo>
                    <a:pt x="40" y="0"/>
                  </a:moveTo>
                  <a:cubicBezTo>
                    <a:pt x="320" y="0"/>
                    <a:pt x="320" y="0"/>
                    <a:pt x="320" y="0"/>
                  </a:cubicBezTo>
                  <a:cubicBezTo>
                    <a:pt x="320" y="291"/>
                    <a:pt x="320" y="291"/>
                    <a:pt x="320" y="291"/>
                  </a:cubicBezTo>
                  <a:cubicBezTo>
                    <a:pt x="296" y="304"/>
                    <a:pt x="280" y="330"/>
                    <a:pt x="280" y="360"/>
                  </a:cubicBezTo>
                  <a:cubicBezTo>
                    <a:pt x="280" y="404"/>
                    <a:pt x="316" y="440"/>
                    <a:pt x="360" y="440"/>
                  </a:cubicBezTo>
                  <a:cubicBezTo>
                    <a:pt x="404" y="440"/>
                    <a:pt x="440" y="404"/>
                    <a:pt x="440" y="360"/>
                  </a:cubicBezTo>
                  <a:cubicBezTo>
                    <a:pt x="440" y="330"/>
                    <a:pt x="424" y="304"/>
                    <a:pt x="400" y="291"/>
                  </a:cubicBezTo>
                  <a:cubicBezTo>
                    <a:pt x="400" y="0"/>
                    <a:pt x="400" y="0"/>
                    <a:pt x="400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702" y="0"/>
                    <a:pt x="720" y="18"/>
                    <a:pt x="720" y="40"/>
                  </a:cubicBezTo>
                  <a:cubicBezTo>
                    <a:pt x="720" y="1720"/>
                    <a:pt x="720" y="1720"/>
                    <a:pt x="720" y="1720"/>
                  </a:cubicBezTo>
                  <a:cubicBezTo>
                    <a:pt x="720" y="1742"/>
                    <a:pt x="702" y="1760"/>
                    <a:pt x="680" y="1760"/>
                  </a:cubicBezTo>
                  <a:cubicBezTo>
                    <a:pt x="40" y="1760"/>
                    <a:pt x="40" y="1760"/>
                    <a:pt x="40" y="1760"/>
                  </a:cubicBezTo>
                  <a:cubicBezTo>
                    <a:pt x="18" y="1760"/>
                    <a:pt x="0" y="1742"/>
                    <a:pt x="0" y="172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10" y="96"/>
                    <a:pt x="21" y="45"/>
                    <a:pt x="32" y="1"/>
                  </a:cubicBezTo>
                  <a:cubicBezTo>
                    <a:pt x="35" y="0"/>
                    <a:pt x="37" y="0"/>
                    <a:pt x="40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 sz="2844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4" name="Freeform 33">
              <a:extLst>
                <a:ext uri="{FF2B5EF4-FFF2-40B4-BE49-F238E27FC236}">
                  <a16:creationId xmlns:a16="http://schemas.microsoft.com/office/drawing/2014/main" id="{67259115-363E-430B-896F-7E9D160A0202}"/>
                </a:ext>
              </a:extLst>
            </p:cNvPr>
            <p:cNvSpPr>
              <a:spLocks/>
            </p:cNvSpPr>
            <p:nvPr/>
          </p:nvSpPr>
          <p:spPr bwMode="auto">
            <a:xfrm rot="3600000">
              <a:off x="5354995" y="1241800"/>
              <a:ext cx="251897" cy="304016"/>
            </a:xfrm>
            <a:custGeom>
              <a:avLst/>
              <a:gdLst>
                <a:gd name="T0" fmla="*/ 1084 w 1164"/>
                <a:gd name="T1" fmla="*/ 360 h 1405"/>
                <a:gd name="T2" fmla="*/ 1084 w 1164"/>
                <a:gd name="T3" fmla="*/ 320 h 1405"/>
                <a:gd name="T4" fmla="*/ 913 w 1164"/>
                <a:gd name="T5" fmla="*/ 120 h 1405"/>
                <a:gd name="T6" fmla="*/ 677 w 1164"/>
                <a:gd name="T7" fmla="*/ 545 h 1405"/>
                <a:gd name="T8" fmla="*/ 365 w 1164"/>
                <a:gd name="T9" fmla="*/ 1384 h 1405"/>
                <a:gd name="T10" fmla="*/ 309 w 1164"/>
                <a:gd name="T11" fmla="*/ 1392 h 1405"/>
                <a:gd name="T12" fmla="*/ 301 w 1164"/>
                <a:gd name="T13" fmla="*/ 1336 h 1405"/>
                <a:gd name="T14" fmla="*/ 598 w 1164"/>
                <a:gd name="T15" fmla="*/ 530 h 1405"/>
                <a:gd name="T16" fmla="*/ 686 w 1164"/>
                <a:gd name="T17" fmla="*/ 190 h 1405"/>
                <a:gd name="T18" fmla="*/ 572 w 1164"/>
                <a:gd name="T19" fmla="*/ 440 h 1405"/>
                <a:gd name="T20" fmla="*/ 70 w 1164"/>
                <a:gd name="T21" fmla="*/ 1230 h 1405"/>
                <a:gd name="T22" fmla="*/ 14 w 1164"/>
                <a:gd name="T23" fmla="*/ 1226 h 1405"/>
                <a:gd name="T24" fmla="*/ 18 w 1164"/>
                <a:gd name="T25" fmla="*/ 1170 h 1405"/>
                <a:gd name="T26" fmla="*/ 497 w 1164"/>
                <a:gd name="T27" fmla="*/ 412 h 1405"/>
                <a:gd name="T28" fmla="*/ 878 w 1164"/>
                <a:gd name="T29" fmla="*/ 0 h 1405"/>
                <a:gd name="T30" fmla="*/ 1164 w 1164"/>
                <a:gd name="T31" fmla="*/ 280 h 1405"/>
                <a:gd name="T32" fmla="*/ 1164 w 1164"/>
                <a:gd name="T33" fmla="*/ 360 h 1405"/>
                <a:gd name="T34" fmla="*/ 1084 w 1164"/>
                <a:gd name="T35" fmla="*/ 360 h 1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4" h="1405">
                  <a:moveTo>
                    <a:pt x="1084" y="360"/>
                  </a:moveTo>
                  <a:cubicBezTo>
                    <a:pt x="1084" y="320"/>
                    <a:pt x="1084" y="320"/>
                    <a:pt x="1084" y="320"/>
                  </a:cubicBezTo>
                  <a:cubicBezTo>
                    <a:pt x="1084" y="216"/>
                    <a:pt x="1026" y="120"/>
                    <a:pt x="913" y="120"/>
                  </a:cubicBezTo>
                  <a:cubicBezTo>
                    <a:pt x="755" y="120"/>
                    <a:pt x="722" y="300"/>
                    <a:pt x="677" y="545"/>
                  </a:cubicBezTo>
                  <a:cubicBezTo>
                    <a:pt x="631" y="795"/>
                    <a:pt x="574" y="1107"/>
                    <a:pt x="365" y="1384"/>
                  </a:cubicBezTo>
                  <a:cubicBezTo>
                    <a:pt x="352" y="1402"/>
                    <a:pt x="327" y="1405"/>
                    <a:pt x="309" y="1392"/>
                  </a:cubicBezTo>
                  <a:cubicBezTo>
                    <a:pt x="292" y="1378"/>
                    <a:pt x="288" y="1354"/>
                    <a:pt x="301" y="1336"/>
                  </a:cubicBezTo>
                  <a:cubicBezTo>
                    <a:pt x="499" y="1074"/>
                    <a:pt x="554" y="772"/>
                    <a:pt x="598" y="530"/>
                  </a:cubicBezTo>
                  <a:cubicBezTo>
                    <a:pt x="624" y="395"/>
                    <a:pt x="645" y="276"/>
                    <a:pt x="686" y="190"/>
                  </a:cubicBezTo>
                  <a:cubicBezTo>
                    <a:pt x="643" y="253"/>
                    <a:pt x="610" y="340"/>
                    <a:pt x="572" y="440"/>
                  </a:cubicBezTo>
                  <a:cubicBezTo>
                    <a:pt x="484" y="669"/>
                    <a:pt x="372" y="964"/>
                    <a:pt x="70" y="1230"/>
                  </a:cubicBezTo>
                  <a:cubicBezTo>
                    <a:pt x="54" y="1244"/>
                    <a:pt x="29" y="1243"/>
                    <a:pt x="14" y="1226"/>
                  </a:cubicBezTo>
                  <a:cubicBezTo>
                    <a:pt x="0" y="1210"/>
                    <a:pt x="1" y="1185"/>
                    <a:pt x="18" y="1170"/>
                  </a:cubicBezTo>
                  <a:cubicBezTo>
                    <a:pt x="304" y="917"/>
                    <a:pt x="413" y="633"/>
                    <a:pt x="497" y="412"/>
                  </a:cubicBezTo>
                  <a:cubicBezTo>
                    <a:pt x="589" y="171"/>
                    <a:pt x="654" y="0"/>
                    <a:pt x="878" y="0"/>
                  </a:cubicBezTo>
                  <a:cubicBezTo>
                    <a:pt x="1054" y="0"/>
                    <a:pt x="1164" y="103"/>
                    <a:pt x="1164" y="280"/>
                  </a:cubicBezTo>
                  <a:cubicBezTo>
                    <a:pt x="1164" y="360"/>
                    <a:pt x="1164" y="360"/>
                    <a:pt x="1164" y="360"/>
                  </a:cubicBezTo>
                  <a:lnTo>
                    <a:pt x="1084" y="36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 sz="2844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65" name="Freeform 81">
            <a:extLst>
              <a:ext uri="{FF2B5EF4-FFF2-40B4-BE49-F238E27FC236}">
                <a16:creationId xmlns:a16="http://schemas.microsoft.com/office/drawing/2014/main" id="{D3405EAA-F9D8-44B5-9804-E5F1BDC49C51}"/>
              </a:ext>
            </a:extLst>
          </p:cNvPr>
          <p:cNvSpPr>
            <a:spLocks noChangeAspect="1"/>
          </p:cNvSpPr>
          <p:nvPr/>
        </p:nvSpPr>
        <p:spPr bwMode="auto">
          <a:xfrm>
            <a:off x="2185239" y="1600122"/>
            <a:ext cx="1199967" cy="779805"/>
          </a:xfrm>
          <a:custGeom>
            <a:avLst/>
            <a:gdLst>
              <a:gd name="T0" fmla="*/ 40 w 2080"/>
              <a:gd name="T1" fmla="*/ 880 h 1360"/>
              <a:gd name="T2" fmla="*/ 280 w 2080"/>
              <a:gd name="T3" fmla="*/ 880 h 1360"/>
              <a:gd name="T4" fmla="*/ 280 w 2080"/>
              <a:gd name="T5" fmla="*/ 640 h 1360"/>
              <a:gd name="T6" fmla="*/ 1000 w 2080"/>
              <a:gd name="T7" fmla="*/ 640 h 1360"/>
              <a:gd name="T8" fmla="*/ 1000 w 2080"/>
              <a:gd name="T9" fmla="*/ 480 h 1360"/>
              <a:gd name="T10" fmla="*/ 760 w 2080"/>
              <a:gd name="T11" fmla="*/ 480 h 1360"/>
              <a:gd name="T12" fmla="*/ 720 w 2080"/>
              <a:gd name="T13" fmla="*/ 440 h 1360"/>
              <a:gd name="T14" fmla="*/ 720 w 2080"/>
              <a:gd name="T15" fmla="*/ 40 h 1360"/>
              <a:gd name="T16" fmla="*/ 760 w 2080"/>
              <a:gd name="T17" fmla="*/ 0 h 1360"/>
              <a:gd name="T18" fmla="*/ 1320 w 2080"/>
              <a:gd name="T19" fmla="*/ 0 h 1360"/>
              <a:gd name="T20" fmla="*/ 1360 w 2080"/>
              <a:gd name="T21" fmla="*/ 40 h 1360"/>
              <a:gd name="T22" fmla="*/ 1360 w 2080"/>
              <a:gd name="T23" fmla="*/ 440 h 1360"/>
              <a:gd name="T24" fmla="*/ 1320 w 2080"/>
              <a:gd name="T25" fmla="*/ 480 h 1360"/>
              <a:gd name="T26" fmla="*/ 1080 w 2080"/>
              <a:gd name="T27" fmla="*/ 480 h 1360"/>
              <a:gd name="T28" fmla="*/ 1080 w 2080"/>
              <a:gd name="T29" fmla="*/ 640 h 1360"/>
              <a:gd name="T30" fmla="*/ 1800 w 2080"/>
              <a:gd name="T31" fmla="*/ 640 h 1360"/>
              <a:gd name="T32" fmla="*/ 1800 w 2080"/>
              <a:gd name="T33" fmla="*/ 880 h 1360"/>
              <a:gd name="T34" fmla="*/ 2040 w 2080"/>
              <a:gd name="T35" fmla="*/ 880 h 1360"/>
              <a:gd name="T36" fmla="*/ 2080 w 2080"/>
              <a:gd name="T37" fmla="*/ 920 h 1360"/>
              <a:gd name="T38" fmla="*/ 2080 w 2080"/>
              <a:gd name="T39" fmla="*/ 1320 h 1360"/>
              <a:gd name="T40" fmla="*/ 2040 w 2080"/>
              <a:gd name="T41" fmla="*/ 1360 h 1360"/>
              <a:gd name="T42" fmla="*/ 1480 w 2080"/>
              <a:gd name="T43" fmla="*/ 1360 h 1360"/>
              <a:gd name="T44" fmla="*/ 1440 w 2080"/>
              <a:gd name="T45" fmla="*/ 1320 h 1360"/>
              <a:gd name="T46" fmla="*/ 1440 w 2080"/>
              <a:gd name="T47" fmla="*/ 920 h 1360"/>
              <a:gd name="T48" fmla="*/ 1480 w 2080"/>
              <a:gd name="T49" fmla="*/ 880 h 1360"/>
              <a:gd name="T50" fmla="*/ 1720 w 2080"/>
              <a:gd name="T51" fmla="*/ 880 h 1360"/>
              <a:gd name="T52" fmla="*/ 1720 w 2080"/>
              <a:gd name="T53" fmla="*/ 720 h 1360"/>
              <a:gd name="T54" fmla="*/ 1080 w 2080"/>
              <a:gd name="T55" fmla="*/ 720 h 1360"/>
              <a:gd name="T56" fmla="*/ 1080 w 2080"/>
              <a:gd name="T57" fmla="*/ 880 h 1360"/>
              <a:gd name="T58" fmla="*/ 1320 w 2080"/>
              <a:gd name="T59" fmla="*/ 880 h 1360"/>
              <a:gd name="T60" fmla="*/ 1360 w 2080"/>
              <a:gd name="T61" fmla="*/ 920 h 1360"/>
              <a:gd name="T62" fmla="*/ 1360 w 2080"/>
              <a:gd name="T63" fmla="*/ 1320 h 1360"/>
              <a:gd name="T64" fmla="*/ 1320 w 2080"/>
              <a:gd name="T65" fmla="*/ 1360 h 1360"/>
              <a:gd name="T66" fmla="*/ 760 w 2080"/>
              <a:gd name="T67" fmla="*/ 1360 h 1360"/>
              <a:gd name="T68" fmla="*/ 720 w 2080"/>
              <a:gd name="T69" fmla="*/ 1320 h 1360"/>
              <a:gd name="T70" fmla="*/ 720 w 2080"/>
              <a:gd name="T71" fmla="*/ 920 h 1360"/>
              <a:gd name="T72" fmla="*/ 760 w 2080"/>
              <a:gd name="T73" fmla="*/ 880 h 1360"/>
              <a:gd name="T74" fmla="*/ 1000 w 2080"/>
              <a:gd name="T75" fmla="*/ 880 h 1360"/>
              <a:gd name="T76" fmla="*/ 1000 w 2080"/>
              <a:gd name="T77" fmla="*/ 720 h 1360"/>
              <a:gd name="T78" fmla="*/ 360 w 2080"/>
              <a:gd name="T79" fmla="*/ 720 h 1360"/>
              <a:gd name="T80" fmla="*/ 360 w 2080"/>
              <a:gd name="T81" fmla="*/ 880 h 1360"/>
              <a:gd name="T82" fmla="*/ 600 w 2080"/>
              <a:gd name="T83" fmla="*/ 880 h 1360"/>
              <a:gd name="T84" fmla="*/ 640 w 2080"/>
              <a:gd name="T85" fmla="*/ 920 h 1360"/>
              <a:gd name="T86" fmla="*/ 640 w 2080"/>
              <a:gd name="T87" fmla="*/ 1320 h 1360"/>
              <a:gd name="T88" fmla="*/ 600 w 2080"/>
              <a:gd name="T89" fmla="*/ 1360 h 1360"/>
              <a:gd name="T90" fmla="*/ 40 w 2080"/>
              <a:gd name="T91" fmla="*/ 1360 h 1360"/>
              <a:gd name="T92" fmla="*/ 0 w 2080"/>
              <a:gd name="T93" fmla="*/ 1320 h 1360"/>
              <a:gd name="T94" fmla="*/ 0 w 2080"/>
              <a:gd name="T95" fmla="*/ 920 h 1360"/>
              <a:gd name="T96" fmla="*/ 40 w 2080"/>
              <a:gd name="T97" fmla="*/ 880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80" h="1360">
                <a:moveTo>
                  <a:pt x="40" y="880"/>
                </a:moveTo>
                <a:cubicBezTo>
                  <a:pt x="280" y="880"/>
                  <a:pt x="280" y="880"/>
                  <a:pt x="280" y="880"/>
                </a:cubicBezTo>
                <a:cubicBezTo>
                  <a:pt x="280" y="640"/>
                  <a:pt x="280" y="640"/>
                  <a:pt x="280" y="640"/>
                </a:cubicBezTo>
                <a:cubicBezTo>
                  <a:pt x="1000" y="640"/>
                  <a:pt x="1000" y="640"/>
                  <a:pt x="1000" y="640"/>
                </a:cubicBezTo>
                <a:cubicBezTo>
                  <a:pt x="1000" y="480"/>
                  <a:pt x="1000" y="480"/>
                  <a:pt x="1000" y="480"/>
                </a:cubicBezTo>
                <a:cubicBezTo>
                  <a:pt x="760" y="480"/>
                  <a:pt x="760" y="480"/>
                  <a:pt x="760" y="480"/>
                </a:cubicBezTo>
                <a:cubicBezTo>
                  <a:pt x="738" y="480"/>
                  <a:pt x="720" y="462"/>
                  <a:pt x="720" y="440"/>
                </a:cubicBezTo>
                <a:cubicBezTo>
                  <a:pt x="720" y="40"/>
                  <a:pt x="720" y="40"/>
                  <a:pt x="720" y="40"/>
                </a:cubicBezTo>
                <a:cubicBezTo>
                  <a:pt x="720" y="18"/>
                  <a:pt x="738" y="0"/>
                  <a:pt x="760" y="0"/>
                </a:cubicBezTo>
                <a:cubicBezTo>
                  <a:pt x="1320" y="0"/>
                  <a:pt x="1320" y="0"/>
                  <a:pt x="1320" y="0"/>
                </a:cubicBezTo>
                <a:cubicBezTo>
                  <a:pt x="1342" y="0"/>
                  <a:pt x="1360" y="18"/>
                  <a:pt x="1360" y="40"/>
                </a:cubicBezTo>
                <a:cubicBezTo>
                  <a:pt x="1360" y="440"/>
                  <a:pt x="1360" y="440"/>
                  <a:pt x="1360" y="440"/>
                </a:cubicBezTo>
                <a:cubicBezTo>
                  <a:pt x="1360" y="462"/>
                  <a:pt x="1342" y="480"/>
                  <a:pt x="1320" y="480"/>
                </a:cubicBezTo>
                <a:cubicBezTo>
                  <a:pt x="1080" y="480"/>
                  <a:pt x="1080" y="480"/>
                  <a:pt x="1080" y="480"/>
                </a:cubicBezTo>
                <a:cubicBezTo>
                  <a:pt x="1080" y="640"/>
                  <a:pt x="1080" y="640"/>
                  <a:pt x="1080" y="640"/>
                </a:cubicBezTo>
                <a:cubicBezTo>
                  <a:pt x="1800" y="640"/>
                  <a:pt x="1800" y="640"/>
                  <a:pt x="1800" y="640"/>
                </a:cubicBezTo>
                <a:cubicBezTo>
                  <a:pt x="1800" y="880"/>
                  <a:pt x="1800" y="880"/>
                  <a:pt x="1800" y="880"/>
                </a:cubicBezTo>
                <a:cubicBezTo>
                  <a:pt x="2040" y="880"/>
                  <a:pt x="2040" y="880"/>
                  <a:pt x="2040" y="880"/>
                </a:cubicBezTo>
                <a:cubicBezTo>
                  <a:pt x="2062" y="880"/>
                  <a:pt x="2080" y="898"/>
                  <a:pt x="2080" y="920"/>
                </a:cubicBezTo>
                <a:cubicBezTo>
                  <a:pt x="2080" y="1320"/>
                  <a:pt x="2080" y="1320"/>
                  <a:pt x="2080" y="1320"/>
                </a:cubicBezTo>
                <a:cubicBezTo>
                  <a:pt x="2080" y="1342"/>
                  <a:pt x="2062" y="1360"/>
                  <a:pt x="2040" y="1360"/>
                </a:cubicBezTo>
                <a:cubicBezTo>
                  <a:pt x="1480" y="1360"/>
                  <a:pt x="1480" y="1360"/>
                  <a:pt x="1480" y="1360"/>
                </a:cubicBezTo>
                <a:cubicBezTo>
                  <a:pt x="1458" y="1360"/>
                  <a:pt x="1440" y="1342"/>
                  <a:pt x="1440" y="1320"/>
                </a:cubicBezTo>
                <a:cubicBezTo>
                  <a:pt x="1440" y="920"/>
                  <a:pt x="1440" y="920"/>
                  <a:pt x="1440" y="920"/>
                </a:cubicBezTo>
                <a:cubicBezTo>
                  <a:pt x="1440" y="898"/>
                  <a:pt x="1458" y="880"/>
                  <a:pt x="1480" y="880"/>
                </a:cubicBezTo>
                <a:cubicBezTo>
                  <a:pt x="1720" y="880"/>
                  <a:pt x="1720" y="880"/>
                  <a:pt x="1720" y="880"/>
                </a:cubicBezTo>
                <a:cubicBezTo>
                  <a:pt x="1720" y="720"/>
                  <a:pt x="1720" y="720"/>
                  <a:pt x="1720" y="720"/>
                </a:cubicBezTo>
                <a:cubicBezTo>
                  <a:pt x="1080" y="720"/>
                  <a:pt x="1080" y="720"/>
                  <a:pt x="1080" y="720"/>
                </a:cubicBezTo>
                <a:cubicBezTo>
                  <a:pt x="1080" y="880"/>
                  <a:pt x="1080" y="880"/>
                  <a:pt x="1080" y="880"/>
                </a:cubicBezTo>
                <a:cubicBezTo>
                  <a:pt x="1320" y="880"/>
                  <a:pt x="1320" y="880"/>
                  <a:pt x="1320" y="880"/>
                </a:cubicBezTo>
                <a:cubicBezTo>
                  <a:pt x="1342" y="880"/>
                  <a:pt x="1360" y="898"/>
                  <a:pt x="1360" y="920"/>
                </a:cubicBezTo>
                <a:cubicBezTo>
                  <a:pt x="1360" y="1320"/>
                  <a:pt x="1360" y="1320"/>
                  <a:pt x="1360" y="1320"/>
                </a:cubicBezTo>
                <a:cubicBezTo>
                  <a:pt x="1360" y="1342"/>
                  <a:pt x="1342" y="1360"/>
                  <a:pt x="1320" y="1360"/>
                </a:cubicBezTo>
                <a:cubicBezTo>
                  <a:pt x="760" y="1360"/>
                  <a:pt x="760" y="1360"/>
                  <a:pt x="760" y="1360"/>
                </a:cubicBezTo>
                <a:cubicBezTo>
                  <a:pt x="738" y="1360"/>
                  <a:pt x="720" y="1342"/>
                  <a:pt x="720" y="1320"/>
                </a:cubicBezTo>
                <a:cubicBezTo>
                  <a:pt x="720" y="920"/>
                  <a:pt x="720" y="920"/>
                  <a:pt x="720" y="920"/>
                </a:cubicBezTo>
                <a:cubicBezTo>
                  <a:pt x="720" y="898"/>
                  <a:pt x="738" y="880"/>
                  <a:pt x="760" y="880"/>
                </a:cubicBezTo>
                <a:cubicBezTo>
                  <a:pt x="1000" y="880"/>
                  <a:pt x="1000" y="880"/>
                  <a:pt x="1000" y="880"/>
                </a:cubicBezTo>
                <a:cubicBezTo>
                  <a:pt x="1000" y="720"/>
                  <a:pt x="1000" y="720"/>
                  <a:pt x="1000" y="720"/>
                </a:cubicBezTo>
                <a:cubicBezTo>
                  <a:pt x="360" y="720"/>
                  <a:pt x="360" y="720"/>
                  <a:pt x="360" y="720"/>
                </a:cubicBezTo>
                <a:cubicBezTo>
                  <a:pt x="360" y="880"/>
                  <a:pt x="360" y="880"/>
                  <a:pt x="360" y="880"/>
                </a:cubicBezTo>
                <a:cubicBezTo>
                  <a:pt x="600" y="880"/>
                  <a:pt x="600" y="880"/>
                  <a:pt x="600" y="880"/>
                </a:cubicBezTo>
                <a:cubicBezTo>
                  <a:pt x="622" y="880"/>
                  <a:pt x="640" y="898"/>
                  <a:pt x="640" y="920"/>
                </a:cubicBezTo>
                <a:cubicBezTo>
                  <a:pt x="640" y="1320"/>
                  <a:pt x="640" y="1320"/>
                  <a:pt x="640" y="1320"/>
                </a:cubicBezTo>
                <a:cubicBezTo>
                  <a:pt x="640" y="1342"/>
                  <a:pt x="622" y="1360"/>
                  <a:pt x="600" y="1360"/>
                </a:cubicBezTo>
                <a:cubicBezTo>
                  <a:pt x="40" y="1360"/>
                  <a:pt x="40" y="1360"/>
                  <a:pt x="40" y="1360"/>
                </a:cubicBezTo>
                <a:cubicBezTo>
                  <a:pt x="18" y="1360"/>
                  <a:pt x="0" y="1342"/>
                  <a:pt x="0" y="1320"/>
                </a:cubicBezTo>
                <a:cubicBezTo>
                  <a:pt x="0" y="920"/>
                  <a:pt x="0" y="920"/>
                  <a:pt x="0" y="920"/>
                </a:cubicBezTo>
                <a:cubicBezTo>
                  <a:pt x="0" y="898"/>
                  <a:pt x="18" y="880"/>
                  <a:pt x="40" y="880"/>
                </a:cubicBezTo>
                <a:close/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2844" dirty="0">
              <a:solidFill>
                <a:schemeClr val="bg1"/>
              </a:solidFill>
            </a:endParaRPr>
          </a:p>
        </p:txBody>
      </p:sp>
      <p:grpSp>
        <p:nvGrpSpPr>
          <p:cNvPr id="66" name="Group 39">
            <a:extLst>
              <a:ext uri="{FF2B5EF4-FFF2-40B4-BE49-F238E27FC236}">
                <a16:creationId xmlns:a16="http://schemas.microsoft.com/office/drawing/2014/main" id="{94F72E04-A49E-4626-AC33-A0589E20E7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14704" y="3907936"/>
            <a:ext cx="1063024" cy="1152000"/>
            <a:chOff x="645" y="-290"/>
            <a:chExt cx="4499" cy="4904"/>
          </a:xfrm>
          <a:noFill/>
        </p:grpSpPr>
        <p:sp>
          <p:nvSpPr>
            <p:cNvPr id="67" name="Freeform 40">
              <a:extLst>
                <a:ext uri="{FF2B5EF4-FFF2-40B4-BE49-F238E27FC236}">
                  <a16:creationId xmlns:a16="http://schemas.microsoft.com/office/drawing/2014/main" id="{A82BC551-5B4C-412F-83CA-D97E8B42A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" y="-290"/>
              <a:ext cx="2412" cy="2155"/>
            </a:xfrm>
            <a:custGeom>
              <a:avLst/>
              <a:gdLst>
                <a:gd name="T0" fmla="*/ 511 w 1021"/>
                <a:gd name="T1" fmla="*/ 768 h 912"/>
                <a:gd name="T2" fmla="*/ 624 w 1021"/>
                <a:gd name="T3" fmla="*/ 799 h 912"/>
                <a:gd name="T4" fmla="*/ 629 w 1021"/>
                <a:gd name="T5" fmla="*/ 879 h 912"/>
                <a:gd name="T6" fmla="*/ 620 w 1021"/>
                <a:gd name="T7" fmla="*/ 912 h 912"/>
                <a:gd name="T8" fmla="*/ 654 w 1021"/>
                <a:gd name="T9" fmla="*/ 901 h 912"/>
                <a:gd name="T10" fmla="*/ 798 w 1021"/>
                <a:gd name="T11" fmla="*/ 805 h 912"/>
                <a:gd name="T12" fmla="*/ 857 w 1021"/>
                <a:gd name="T13" fmla="*/ 664 h 912"/>
                <a:gd name="T14" fmla="*/ 1021 w 1021"/>
                <a:gd name="T15" fmla="*/ 383 h 912"/>
                <a:gd name="T16" fmla="*/ 511 w 1021"/>
                <a:gd name="T17" fmla="*/ 0 h 912"/>
                <a:gd name="T18" fmla="*/ 0 w 1021"/>
                <a:gd name="T19" fmla="*/ 384 h 912"/>
                <a:gd name="T20" fmla="*/ 511 w 1021"/>
                <a:gd name="T21" fmla="*/ 768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1" h="912">
                  <a:moveTo>
                    <a:pt x="511" y="768"/>
                  </a:moveTo>
                  <a:cubicBezTo>
                    <a:pt x="574" y="768"/>
                    <a:pt x="608" y="780"/>
                    <a:pt x="624" y="799"/>
                  </a:cubicBezTo>
                  <a:cubicBezTo>
                    <a:pt x="639" y="817"/>
                    <a:pt x="637" y="846"/>
                    <a:pt x="629" y="879"/>
                  </a:cubicBezTo>
                  <a:cubicBezTo>
                    <a:pt x="620" y="912"/>
                    <a:pt x="620" y="912"/>
                    <a:pt x="620" y="912"/>
                  </a:cubicBezTo>
                  <a:cubicBezTo>
                    <a:pt x="654" y="901"/>
                    <a:pt x="654" y="901"/>
                    <a:pt x="654" y="901"/>
                  </a:cubicBezTo>
                  <a:cubicBezTo>
                    <a:pt x="715" y="882"/>
                    <a:pt x="764" y="847"/>
                    <a:pt x="798" y="805"/>
                  </a:cubicBezTo>
                  <a:cubicBezTo>
                    <a:pt x="834" y="762"/>
                    <a:pt x="854" y="713"/>
                    <a:pt x="857" y="664"/>
                  </a:cubicBezTo>
                  <a:cubicBezTo>
                    <a:pt x="952" y="599"/>
                    <a:pt x="1021" y="500"/>
                    <a:pt x="1021" y="383"/>
                  </a:cubicBezTo>
                  <a:cubicBezTo>
                    <a:pt x="1021" y="132"/>
                    <a:pt x="736" y="0"/>
                    <a:pt x="511" y="0"/>
                  </a:cubicBezTo>
                  <a:cubicBezTo>
                    <a:pt x="285" y="0"/>
                    <a:pt x="0" y="133"/>
                    <a:pt x="0" y="384"/>
                  </a:cubicBezTo>
                  <a:cubicBezTo>
                    <a:pt x="0" y="635"/>
                    <a:pt x="285" y="768"/>
                    <a:pt x="511" y="76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 sz="2844" dirty="0"/>
            </a:p>
          </p:txBody>
        </p:sp>
        <p:sp>
          <p:nvSpPr>
            <p:cNvPr id="68" name="Freeform 41">
              <a:extLst>
                <a:ext uri="{FF2B5EF4-FFF2-40B4-BE49-F238E27FC236}">
                  <a16:creationId xmlns:a16="http://schemas.microsoft.com/office/drawing/2014/main" id="{0426D05A-78F2-427A-8110-47DD3F035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2460"/>
              <a:ext cx="2412" cy="2154"/>
            </a:xfrm>
            <a:custGeom>
              <a:avLst/>
              <a:gdLst>
                <a:gd name="T0" fmla="*/ 511 w 1021"/>
                <a:gd name="T1" fmla="*/ 0 h 912"/>
                <a:gd name="T2" fmla="*/ 0 w 1021"/>
                <a:gd name="T3" fmla="*/ 384 h 912"/>
                <a:gd name="T4" fmla="*/ 511 w 1021"/>
                <a:gd name="T5" fmla="*/ 768 h 912"/>
                <a:gd name="T6" fmla="*/ 624 w 1021"/>
                <a:gd name="T7" fmla="*/ 799 h 912"/>
                <a:gd name="T8" fmla="*/ 629 w 1021"/>
                <a:gd name="T9" fmla="*/ 878 h 912"/>
                <a:gd name="T10" fmla="*/ 620 w 1021"/>
                <a:gd name="T11" fmla="*/ 912 h 912"/>
                <a:gd name="T12" fmla="*/ 654 w 1021"/>
                <a:gd name="T13" fmla="*/ 901 h 912"/>
                <a:gd name="T14" fmla="*/ 798 w 1021"/>
                <a:gd name="T15" fmla="*/ 805 h 912"/>
                <a:gd name="T16" fmla="*/ 857 w 1021"/>
                <a:gd name="T17" fmla="*/ 664 h 912"/>
                <a:gd name="T18" fmla="*/ 1021 w 1021"/>
                <a:gd name="T19" fmla="*/ 383 h 912"/>
                <a:gd name="T20" fmla="*/ 511 w 1021"/>
                <a:gd name="T21" fmla="*/ 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1" h="912">
                  <a:moveTo>
                    <a:pt x="511" y="0"/>
                  </a:moveTo>
                  <a:cubicBezTo>
                    <a:pt x="285" y="0"/>
                    <a:pt x="0" y="133"/>
                    <a:pt x="0" y="384"/>
                  </a:cubicBezTo>
                  <a:cubicBezTo>
                    <a:pt x="0" y="634"/>
                    <a:pt x="285" y="768"/>
                    <a:pt x="511" y="768"/>
                  </a:cubicBezTo>
                  <a:cubicBezTo>
                    <a:pt x="574" y="768"/>
                    <a:pt x="608" y="779"/>
                    <a:pt x="624" y="799"/>
                  </a:cubicBezTo>
                  <a:cubicBezTo>
                    <a:pt x="639" y="817"/>
                    <a:pt x="637" y="845"/>
                    <a:pt x="629" y="878"/>
                  </a:cubicBezTo>
                  <a:cubicBezTo>
                    <a:pt x="620" y="912"/>
                    <a:pt x="620" y="912"/>
                    <a:pt x="620" y="912"/>
                  </a:cubicBezTo>
                  <a:cubicBezTo>
                    <a:pt x="654" y="901"/>
                    <a:pt x="654" y="901"/>
                    <a:pt x="654" y="901"/>
                  </a:cubicBezTo>
                  <a:cubicBezTo>
                    <a:pt x="715" y="881"/>
                    <a:pt x="764" y="846"/>
                    <a:pt x="798" y="805"/>
                  </a:cubicBezTo>
                  <a:cubicBezTo>
                    <a:pt x="834" y="762"/>
                    <a:pt x="854" y="712"/>
                    <a:pt x="857" y="664"/>
                  </a:cubicBezTo>
                  <a:cubicBezTo>
                    <a:pt x="952" y="598"/>
                    <a:pt x="1021" y="500"/>
                    <a:pt x="1021" y="383"/>
                  </a:cubicBezTo>
                  <a:cubicBezTo>
                    <a:pt x="1021" y="132"/>
                    <a:pt x="736" y="0"/>
                    <a:pt x="511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 sz="2844" dirty="0"/>
            </a:p>
          </p:txBody>
        </p:sp>
        <p:sp>
          <p:nvSpPr>
            <p:cNvPr id="69" name="Freeform 42">
              <a:extLst>
                <a:ext uri="{FF2B5EF4-FFF2-40B4-BE49-F238E27FC236}">
                  <a16:creationId xmlns:a16="http://schemas.microsoft.com/office/drawing/2014/main" id="{95D0E95B-3A30-4EE2-98FC-3CC796E65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" y="1085"/>
              <a:ext cx="2412" cy="2157"/>
            </a:xfrm>
            <a:custGeom>
              <a:avLst/>
              <a:gdLst>
                <a:gd name="T0" fmla="*/ 511 w 1021"/>
                <a:gd name="T1" fmla="*/ 768 h 913"/>
                <a:gd name="T2" fmla="*/ 1021 w 1021"/>
                <a:gd name="T3" fmla="*/ 384 h 913"/>
                <a:gd name="T4" fmla="*/ 511 w 1021"/>
                <a:gd name="T5" fmla="*/ 0 h 913"/>
                <a:gd name="T6" fmla="*/ 0 w 1021"/>
                <a:gd name="T7" fmla="*/ 383 h 913"/>
                <a:gd name="T8" fmla="*/ 164 w 1021"/>
                <a:gd name="T9" fmla="*/ 665 h 913"/>
                <a:gd name="T10" fmla="*/ 223 w 1021"/>
                <a:gd name="T11" fmla="*/ 805 h 913"/>
                <a:gd name="T12" fmla="*/ 367 w 1021"/>
                <a:gd name="T13" fmla="*/ 902 h 913"/>
                <a:gd name="T14" fmla="*/ 401 w 1021"/>
                <a:gd name="T15" fmla="*/ 913 h 913"/>
                <a:gd name="T16" fmla="*/ 392 w 1021"/>
                <a:gd name="T17" fmla="*/ 879 h 913"/>
                <a:gd name="T18" fmla="*/ 397 w 1021"/>
                <a:gd name="T19" fmla="*/ 799 h 913"/>
                <a:gd name="T20" fmla="*/ 511 w 1021"/>
                <a:gd name="T21" fmla="*/ 768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1" h="913">
                  <a:moveTo>
                    <a:pt x="511" y="768"/>
                  </a:moveTo>
                  <a:cubicBezTo>
                    <a:pt x="736" y="768"/>
                    <a:pt x="1021" y="635"/>
                    <a:pt x="1021" y="384"/>
                  </a:cubicBezTo>
                  <a:cubicBezTo>
                    <a:pt x="1021" y="134"/>
                    <a:pt x="736" y="0"/>
                    <a:pt x="511" y="0"/>
                  </a:cubicBezTo>
                  <a:cubicBezTo>
                    <a:pt x="285" y="0"/>
                    <a:pt x="0" y="132"/>
                    <a:pt x="0" y="383"/>
                  </a:cubicBezTo>
                  <a:cubicBezTo>
                    <a:pt x="0" y="500"/>
                    <a:pt x="69" y="599"/>
                    <a:pt x="164" y="665"/>
                  </a:cubicBezTo>
                  <a:cubicBezTo>
                    <a:pt x="167" y="713"/>
                    <a:pt x="188" y="762"/>
                    <a:pt x="223" y="805"/>
                  </a:cubicBezTo>
                  <a:cubicBezTo>
                    <a:pt x="257" y="847"/>
                    <a:pt x="306" y="882"/>
                    <a:pt x="367" y="902"/>
                  </a:cubicBezTo>
                  <a:cubicBezTo>
                    <a:pt x="401" y="913"/>
                    <a:pt x="401" y="913"/>
                    <a:pt x="401" y="913"/>
                  </a:cubicBezTo>
                  <a:cubicBezTo>
                    <a:pt x="392" y="879"/>
                    <a:pt x="392" y="879"/>
                    <a:pt x="392" y="879"/>
                  </a:cubicBezTo>
                  <a:cubicBezTo>
                    <a:pt x="384" y="846"/>
                    <a:pt x="383" y="818"/>
                    <a:pt x="397" y="799"/>
                  </a:cubicBezTo>
                  <a:cubicBezTo>
                    <a:pt x="413" y="780"/>
                    <a:pt x="447" y="768"/>
                    <a:pt x="511" y="76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t-IT" sz="2844" dirty="0"/>
            </a:p>
          </p:txBody>
        </p:sp>
      </p:grpSp>
      <p:pic>
        <p:nvPicPr>
          <p:cNvPr id="70" name="Immagine 69">
            <a:extLst>
              <a:ext uri="{FF2B5EF4-FFF2-40B4-BE49-F238E27FC236}">
                <a16:creationId xmlns:a16="http://schemas.microsoft.com/office/drawing/2014/main" id="{AFB62E8A-23AA-40CF-AEAF-BE020010045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1569" y="2118155"/>
            <a:ext cx="1130624" cy="1433192"/>
          </a:xfrm>
          <a:prstGeom prst="rect">
            <a:avLst/>
          </a:prstGeom>
          <a:noFill/>
        </p:spPr>
      </p:pic>
      <p:sp>
        <p:nvSpPr>
          <p:cNvPr id="71" name="Rettangolo 70">
            <a:extLst>
              <a:ext uri="{FF2B5EF4-FFF2-40B4-BE49-F238E27FC236}">
                <a16:creationId xmlns:a16="http://schemas.microsoft.com/office/drawing/2014/main" id="{BB25DAD6-70BA-489B-93DB-3C2F3F711D00}"/>
              </a:ext>
            </a:extLst>
          </p:cNvPr>
          <p:cNvSpPr/>
          <p:nvPr/>
        </p:nvSpPr>
        <p:spPr>
          <a:xfrm>
            <a:off x="7044815" y="3935054"/>
            <a:ext cx="3534443" cy="11751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sz="1600" b="1" dirty="0">
                <a:solidFill>
                  <a:schemeClr val="bg1"/>
                </a:solidFill>
                <a:cs typeface="Arial" pitchFamily="34" charset="0"/>
              </a:rPr>
              <a:t>FONTI DATI DI MERCATO: 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it-IT" sz="1333" dirty="0">
                <a:solidFill>
                  <a:schemeClr val="bg1"/>
                </a:solidFill>
                <a:cs typeface="Arial" pitchFamily="34" charset="0"/>
              </a:rPr>
              <a:t>GfK Sinottica, GfK Consumer Panel, GfK Retail &amp; </a:t>
            </a:r>
            <a:r>
              <a:rPr lang="en-US" sz="1333" dirty="0">
                <a:solidFill>
                  <a:schemeClr val="bg1"/>
                </a:solidFill>
                <a:cs typeface="Arial" pitchFamily="34" charset="0"/>
              </a:rPr>
              <a:t>Technology</a:t>
            </a:r>
            <a:r>
              <a:rPr lang="it-IT" sz="1333" dirty="0">
                <a:solidFill>
                  <a:schemeClr val="bg1"/>
                </a:solidFill>
                <a:cs typeface="Arial" pitchFamily="34" charset="0"/>
              </a:rPr>
              <a:t> Panel e Sita Fashion Consumer Panel.</a:t>
            </a:r>
            <a:endParaRPr lang="en-GB" sz="1333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Sottotitolo 3">
            <a:extLst>
              <a:ext uri="{FF2B5EF4-FFF2-40B4-BE49-F238E27FC236}">
                <a16:creationId xmlns:a16="http://schemas.microsoft.com/office/drawing/2014/main" id="{F05B91B9-8C34-4340-BFD7-40B8486DB83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3" y="794139"/>
            <a:ext cx="8641357" cy="360040"/>
          </a:xfrm>
        </p:spPr>
        <p:txBody>
          <a:bodyPr/>
          <a:lstStyle/>
          <a:p>
            <a:r>
              <a:rPr lang="it-IT" dirty="0"/>
              <a:t>5.000 in single source per le classifiche storiche e 1.000 destinate al nuovo ranking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B33537D7-74D8-410E-870B-7B89B8033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10975604" cy="492443"/>
          </a:xfrm>
        </p:spPr>
        <p:txBody>
          <a:bodyPr/>
          <a:lstStyle/>
          <a:p>
            <a:r>
              <a:rPr lang="it-IT" sz="3200" b="1" dirty="0"/>
              <a:t>Edizione 2023 – 6.000 interviste per 16.000 valutazioni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B72392E0-FF76-4E71-9BFE-0C62E77A469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defPPr>
              <a:defRPr lang="de-DE"/>
            </a:defPPr>
            <a:lvl1pPr marL="0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1249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02497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03746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04995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06244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07492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908741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09989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51872">
              <a:defRPr/>
            </a:pPr>
            <a:fld id="{D3E092A3-C138-8A47-8C92-5DB40FA2E463}" type="slidenum">
              <a:rPr lang="en-US" sz="900" smtClean="0">
                <a:solidFill>
                  <a:srgbClr val="464646">
                    <a:lumMod val="60000"/>
                    <a:lumOff val="40000"/>
                  </a:srgbClr>
                </a:solidFill>
              </a:rPr>
              <a:pPr defTabSz="1051872">
                <a:defRPr/>
              </a:pPr>
              <a:t>20</a:t>
            </a:fld>
            <a:endParaRPr lang="en-US" sz="900">
              <a:solidFill>
                <a:srgbClr val="464646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6" name="Rechteck 116">
            <a:extLst>
              <a:ext uri="{FF2B5EF4-FFF2-40B4-BE49-F238E27FC236}">
                <a16:creationId xmlns:a16="http://schemas.microsoft.com/office/drawing/2014/main" id="{53E430EE-44A4-4D00-9C63-978C0CF5DEE4}"/>
              </a:ext>
            </a:extLst>
          </p:cNvPr>
          <p:cNvSpPr/>
          <p:nvPr/>
        </p:nvSpPr>
        <p:spPr bwMode="gray">
          <a:xfrm>
            <a:off x="334962" y="5192538"/>
            <a:ext cx="11028137" cy="1248371"/>
          </a:xfrm>
          <a:prstGeom prst="rect">
            <a:avLst/>
          </a:prstGeom>
          <a:solidFill>
            <a:schemeClr val="accent6">
              <a:lumMod val="20000"/>
              <a:lumOff val="80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8" name="Gerader Verbinder 218">
            <a:extLst>
              <a:ext uri="{FF2B5EF4-FFF2-40B4-BE49-F238E27FC236}">
                <a16:creationId xmlns:a16="http://schemas.microsoft.com/office/drawing/2014/main" id="{8C29446A-506B-412E-9D8F-5A85FEE10682}"/>
              </a:ext>
            </a:extLst>
          </p:cNvPr>
          <p:cNvCxnSpPr>
            <a:cxnSpLocks/>
          </p:cNvCxnSpPr>
          <p:nvPr/>
        </p:nvCxnSpPr>
        <p:spPr>
          <a:xfrm>
            <a:off x="407368" y="5337328"/>
            <a:ext cx="0" cy="104400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9">
            <a:extLst>
              <a:ext uri="{FF2B5EF4-FFF2-40B4-BE49-F238E27FC236}">
                <a16:creationId xmlns:a16="http://schemas.microsoft.com/office/drawing/2014/main" id="{C8D5836B-6B3C-46C2-A08A-E7ED73D0D4A8}"/>
              </a:ext>
            </a:extLst>
          </p:cNvPr>
          <p:cNvCxnSpPr>
            <a:cxnSpLocks/>
          </p:cNvCxnSpPr>
          <p:nvPr/>
        </p:nvCxnSpPr>
        <p:spPr>
          <a:xfrm>
            <a:off x="380507" y="5337328"/>
            <a:ext cx="10900069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216">
            <a:extLst>
              <a:ext uri="{FF2B5EF4-FFF2-40B4-BE49-F238E27FC236}">
                <a16:creationId xmlns:a16="http://schemas.microsoft.com/office/drawing/2014/main" id="{CA9D894D-8149-4809-9291-DBF965959C45}"/>
              </a:ext>
            </a:extLst>
          </p:cNvPr>
          <p:cNvCxnSpPr>
            <a:cxnSpLocks/>
          </p:cNvCxnSpPr>
          <p:nvPr/>
        </p:nvCxnSpPr>
        <p:spPr>
          <a:xfrm>
            <a:off x="1135967" y="5337329"/>
            <a:ext cx="0" cy="737109"/>
          </a:xfrm>
          <a:prstGeom prst="line">
            <a:avLst/>
          </a:prstGeom>
          <a:ln w="19050">
            <a:solidFill>
              <a:schemeClr val="tx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175">
            <a:extLst>
              <a:ext uri="{FF2B5EF4-FFF2-40B4-BE49-F238E27FC236}">
                <a16:creationId xmlns:a16="http://schemas.microsoft.com/office/drawing/2014/main" id="{0C2A4BDF-0E24-4E25-BD04-041ED73861D9}"/>
              </a:ext>
            </a:extLst>
          </p:cNvPr>
          <p:cNvSpPr/>
          <p:nvPr/>
        </p:nvSpPr>
        <p:spPr>
          <a:xfrm>
            <a:off x="4799729" y="5517232"/>
            <a:ext cx="2013811" cy="9130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333" b="1" dirty="0">
                <a:cs typeface="Arial" pitchFamily="34" charset="0"/>
              </a:rPr>
              <a:t>1.000</a:t>
            </a:r>
            <a:endParaRPr lang="de-DE" sz="5333" b="1" dirty="0"/>
          </a:p>
        </p:txBody>
      </p:sp>
      <p:sp>
        <p:nvSpPr>
          <p:cNvPr id="73" name="Rechteck 176">
            <a:extLst>
              <a:ext uri="{FF2B5EF4-FFF2-40B4-BE49-F238E27FC236}">
                <a16:creationId xmlns:a16="http://schemas.microsoft.com/office/drawing/2014/main" id="{8B75FAE9-537F-4A97-B065-541C8E035E5D}"/>
              </a:ext>
            </a:extLst>
          </p:cNvPr>
          <p:cNvSpPr/>
          <p:nvPr/>
        </p:nvSpPr>
        <p:spPr>
          <a:xfrm>
            <a:off x="6679081" y="5592464"/>
            <a:ext cx="1553630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en-US" sz="1600" b="1" dirty="0">
                <a:cs typeface="Arial" pitchFamily="34" charset="0"/>
              </a:rPr>
              <a:t>INTERVISTATI</a:t>
            </a:r>
          </a:p>
        </p:txBody>
      </p:sp>
      <p:sp>
        <p:nvSpPr>
          <p:cNvPr id="74" name="Rechteck 177">
            <a:extLst>
              <a:ext uri="{FF2B5EF4-FFF2-40B4-BE49-F238E27FC236}">
                <a16:creationId xmlns:a16="http://schemas.microsoft.com/office/drawing/2014/main" id="{BC711B37-8741-44F2-9DDD-7532B0506C9B}"/>
              </a:ext>
            </a:extLst>
          </p:cNvPr>
          <p:cNvSpPr/>
          <p:nvPr/>
        </p:nvSpPr>
        <p:spPr>
          <a:xfrm>
            <a:off x="6688534" y="5834561"/>
            <a:ext cx="2326725" cy="5025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it-IT" sz="1333" dirty="0">
                <a:cs typeface="Arial" pitchFamily="34" charset="0"/>
              </a:rPr>
              <a:t>Rappresentativi della popolazione italiana </a:t>
            </a:r>
          </a:p>
        </p:txBody>
      </p:sp>
      <p:cxnSp>
        <p:nvCxnSpPr>
          <p:cNvPr id="75" name="Gerader Verbinder 217">
            <a:extLst>
              <a:ext uri="{FF2B5EF4-FFF2-40B4-BE49-F238E27FC236}">
                <a16:creationId xmlns:a16="http://schemas.microsoft.com/office/drawing/2014/main" id="{6FF84E6F-002B-4A55-A480-0282A612A093}"/>
              </a:ext>
            </a:extLst>
          </p:cNvPr>
          <p:cNvCxnSpPr>
            <a:cxnSpLocks/>
          </p:cNvCxnSpPr>
          <p:nvPr/>
        </p:nvCxnSpPr>
        <p:spPr>
          <a:xfrm>
            <a:off x="4745323" y="5359315"/>
            <a:ext cx="0" cy="510356"/>
          </a:xfrm>
          <a:prstGeom prst="line">
            <a:avLst/>
          </a:prstGeom>
          <a:ln w="19050">
            <a:solidFill>
              <a:schemeClr val="tx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asellaDiTesto 75">
            <a:extLst>
              <a:ext uri="{FF2B5EF4-FFF2-40B4-BE49-F238E27FC236}">
                <a16:creationId xmlns:a16="http://schemas.microsoft.com/office/drawing/2014/main" id="{63DAF7F8-57DE-4E1A-BED6-23AB6F7B360A}"/>
              </a:ext>
            </a:extLst>
          </p:cNvPr>
          <p:cNvSpPr txBox="1"/>
          <p:nvPr/>
        </p:nvSpPr>
        <p:spPr>
          <a:xfrm>
            <a:off x="2300250" y="5780869"/>
            <a:ext cx="2292101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333" dirty="0">
                <a:cs typeface="Arial" pitchFamily="34" charset="0"/>
              </a:rPr>
              <a:t>I top 5 brands di ogni classifica 2023 </a:t>
            </a:r>
            <a:endParaRPr lang="en-GB" sz="1333" dirty="0">
              <a:cs typeface="Arial" pitchFamily="34" charset="0"/>
            </a:endParaRPr>
          </a:p>
        </p:txBody>
      </p:sp>
      <p:sp>
        <p:nvSpPr>
          <p:cNvPr id="78" name="Rechteck 125">
            <a:extLst>
              <a:ext uri="{FF2B5EF4-FFF2-40B4-BE49-F238E27FC236}">
                <a16:creationId xmlns:a16="http://schemas.microsoft.com/office/drawing/2014/main" id="{DB6CF8C3-5E75-420B-8F1D-97FB5B8995FD}"/>
              </a:ext>
            </a:extLst>
          </p:cNvPr>
          <p:cNvSpPr/>
          <p:nvPr/>
        </p:nvSpPr>
        <p:spPr>
          <a:xfrm>
            <a:off x="1330869" y="5472264"/>
            <a:ext cx="2013809" cy="91300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333" b="1" dirty="0">
                <a:cs typeface="Arial" pitchFamily="34" charset="0"/>
              </a:rPr>
              <a:t>20</a:t>
            </a:r>
            <a:endParaRPr lang="de-DE" sz="5333" b="1" dirty="0"/>
          </a:p>
        </p:txBody>
      </p:sp>
      <p:sp>
        <p:nvSpPr>
          <p:cNvPr id="79" name="Rechteck 126">
            <a:extLst>
              <a:ext uri="{FF2B5EF4-FFF2-40B4-BE49-F238E27FC236}">
                <a16:creationId xmlns:a16="http://schemas.microsoft.com/office/drawing/2014/main" id="{C70623D1-A5EB-4C7E-B5CE-320C8061D330}"/>
              </a:ext>
            </a:extLst>
          </p:cNvPr>
          <p:cNvSpPr/>
          <p:nvPr/>
        </p:nvSpPr>
        <p:spPr>
          <a:xfrm>
            <a:off x="2300250" y="5517232"/>
            <a:ext cx="1707518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en-US" sz="1600" b="1" dirty="0">
                <a:cs typeface="Arial" pitchFamily="34" charset="0"/>
              </a:rPr>
              <a:t>BRAND IN TEST</a:t>
            </a:r>
          </a:p>
        </p:txBody>
      </p:sp>
      <p:sp>
        <p:nvSpPr>
          <p:cNvPr id="86" name="Rechteck 188">
            <a:extLst>
              <a:ext uri="{FF2B5EF4-FFF2-40B4-BE49-F238E27FC236}">
                <a16:creationId xmlns:a16="http://schemas.microsoft.com/office/drawing/2014/main" id="{199704AB-5366-4285-A7C6-59D259D6605B}"/>
              </a:ext>
            </a:extLst>
          </p:cNvPr>
          <p:cNvSpPr/>
          <p:nvPr/>
        </p:nvSpPr>
        <p:spPr>
          <a:xfrm>
            <a:off x="8983739" y="5493788"/>
            <a:ext cx="16955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it-IT" sz="1600" b="1" dirty="0">
                <a:cs typeface="Arial" pitchFamily="34" charset="0"/>
              </a:rPr>
              <a:t>RILEVAZIONE</a:t>
            </a:r>
            <a:r>
              <a:rPr lang="en-US" sz="1600" b="1" dirty="0">
                <a:cs typeface="Arial" pitchFamily="34" charset="0"/>
              </a:rPr>
              <a:t>: </a:t>
            </a:r>
          </a:p>
        </p:txBody>
      </p:sp>
      <p:sp>
        <p:nvSpPr>
          <p:cNvPr id="87" name="Rechteck 178">
            <a:extLst>
              <a:ext uri="{FF2B5EF4-FFF2-40B4-BE49-F238E27FC236}">
                <a16:creationId xmlns:a16="http://schemas.microsoft.com/office/drawing/2014/main" id="{4E2BEC78-4413-4624-9EEC-8DDB9A2350A2}"/>
              </a:ext>
            </a:extLst>
          </p:cNvPr>
          <p:cNvSpPr/>
          <p:nvPr/>
        </p:nvSpPr>
        <p:spPr>
          <a:xfrm>
            <a:off x="8979238" y="5794904"/>
            <a:ext cx="2080554" cy="5538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it-IT" sz="1333" dirty="0">
                <a:cs typeface="Arial" pitchFamily="34" charset="0"/>
              </a:rPr>
              <a:t>Gennaio-Febbraio 2023 </a:t>
            </a:r>
          </a:p>
          <a:p>
            <a:pPr>
              <a:spcBef>
                <a:spcPts val="400"/>
              </a:spcBef>
            </a:pPr>
            <a:r>
              <a:rPr lang="en-US" sz="1333" dirty="0">
                <a:cs typeface="Arial" pitchFamily="34" charset="0"/>
              </a:rPr>
              <a:t>GfK Panel </a:t>
            </a:r>
            <a:r>
              <a:rPr lang="en-US" sz="1333" dirty="0" err="1">
                <a:cs typeface="Arial" pitchFamily="34" charset="0"/>
              </a:rPr>
              <a:t>Dialogatore</a:t>
            </a:r>
            <a:endParaRPr lang="en-US" sz="1333" dirty="0">
              <a:cs typeface="Arial" pitchFamily="34" charset="0"/>
            </a:endParaRPr>
          </a:p>
        </p:txBody>
      </p:sp>
      <p:cxnSp>
        <p:nvCxnSpPr>
          <p:cNvPr id="88" name="Gerader Verbinder 217">
            <a:extLst>
              <a:ext uri="{FF2B5EF4-FFF2-40B4-BE49-F238E27FC236}">
                <a16:creationId xmlns:a16="http://schemas.microsoft.com/office/drawing/2014/main" id="{2B0CED5F-7834-4135-A588-8636A744FFD7}"/>
              </a:ext>
            </a:extLst>
          </p:cNvPr>
          <p:cNvCxnSpPr>
            <a:cxnSpLocks/>
          </p:cNvCxnSpPr>
          <p:nvPr/>
        </p:nvCxnSpPr>
        <p:spPr>
          <a:xfrm>
            <a:off x="8832304" y="5359315"/>
            <a:ext cx="0" cy="510356"/>
          </a:xfrm>
          <a:prstGeom prst="line">
            <a:avLst/>
          </a:prstGeom>
          <a:ln w="19050">
            <a:solidFill>
              <a:schemeClr val="tx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344473"/>
      </p:ext>
    </p:extLst>
  </p:cSld>
  <p:clrMapOvr>
    <a:masterClrMapping/>
  </p:clrMapOvr>
  <p:transition>
    <p:randomBa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116">
            <a:extLst>
              <a:ext uri="{FF2B5EF4-FFF2-40B4-BE49-F238E27FC236}">
                <a16:creationId xmlns:a16="http://schemas.microsoft.com/office/drawing/2014/main" id="{1EDFF116-E0DC-4324-9B3C-CFB13689A7D7}"/>
              </a:ext>
            </a:extLst>
          </p:cNvPr>
          <p:cNvSpPr/>
          <p:nvPr/>
        </p:nvSpPr>
        <p:spPr bwMode="gray">
          <a:xfrm>
            <a:off x="623392" y="1417540"/>
            <a:ext cx="10361721" cy="4320244"/>
          </a:xfrm>
          <a:prstGeom prst="rect">
            <a:avLst/>
          </a:prstGeom>
          <a:solidFill>
            <a:schemeClr val="bg2">
              <a:lumMod val="25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endParaRPr lang="de-DE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2" name="Gruppieren 70">
            <a:extLst>
              <a:ext uri="{FF2B5EF4-FFF2-40B4-BE49-F238E27FC236}">
                <a16:creationId xmlns:a16="http://schemas.microsoft.com/office/drawing/2014/main" id="{D3C20214-A148-4E98-8B31-760AA72A6374}"/>
              </a:ext>
            </a:extLst>
          </p:cNvPr>
          <p:cNvGrpSpPr/>
          <p:nvPr/>
        </p:nvGrpSpPr>
        <p:grpSpPr>
          <a:xfrm rot="10800000" flipV="1">
            <a:off x="2143088" y="2696712"/>
            <a:ext cx="3280797" cy="485988"/>
            <a:chOff x="6009948" y="1671145"/>
            <a:chExt cx="2460653" cy="741862"/>
          </a:xfrm>
        </p:grpSpPr>
        <p:cxnSp>
          <p:nvCxnSpPr>
            <p:cNvPr id="63" name="Gerader Verbinder 71">
              <a:extLst>
                <a:ext uri="{FF2B5EF4-FFF2-40B4-BE49-F238E27FC236}">
                  <a16:creationId xmlns:a16="http://schemas.microsoft.com/office/drawing/2014/main" id="{E012F6FB-543F-489A-88B0-C8D49AF328D6}"/>
                </a:ext>
              </a:extLst>
            </p:cNvPr>
            <p:cNvCxnSpPr/>
            <p:nvPr/>
          </p:nvCxnSpPr>
          <p:spPr>
            <a:xfrm rot="10800000" flipH="1">
              <a:off x="6009948" y="1671145"/>
              <a:ext cx="805463" cy="741862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  <p:cxnSp>
          <p:nvCxnSpPr>
            <p:cNvPr id="64" name="Gerader Verbinder 72">
              <a:extLst>
                <a:ext uri="{FF2B5EF4-FFF2-40B4-BE49-F238E27FC236}">
                  <a16:creationId xmlns:a16="http://schemas.microsoft.com/office/drawing/2014/main" id="{879B2730-6ECE-40A5-91B5-24A0435533F6}"/>
                </a:ext>
              </a:extLst>
            </p:cNvPr>
            <p:cNvCxnSpPr/>
            <p:nvPr/>
          </p:nvCxnSpPr>
          <p:spPr>
            <a:xfrm rot="10800000" flipH="1">
              <a:off x="6810977" y="1673989"/>
              <a:ext cx="1659624" cy="0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</p:grpSp>
      <p:sp>
        <p:nvSpPr>
          <p:cNvPr id="65" name="Textfeld 43">
            <a:extLst>
              <a:ext uri="{FF2B5EF4-FFF2-40B4-BE49-F238E27FC236}">
                <a16:creationId xmlns:a16="http://schemas.microsoft.com/office/drawing/2014/main" id="{F0837258-046E-4B85-9DAD-EB7F1FB7602B}"/>
              </a:ext>
            </a:extLst>
          </p:cNvPr>
          <p:cNvSpPr txBox="1"/>
          <p:nvPr/>
        </p:nvSpPr>
        <p:spPr bwMode="gray">
          <a:xfrm>
            <a:off x="1137807" y="4135693"/>
            <a:ext cx="3126327" cy="1282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cs typeface="Arial" panose="020B0604020202020204" pitchFamily="34" charset="0"/>
              </a:rPr>
              <a:t>SHARE OF CHOICE</a:t>
            </a:r>
          </a:p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400" i="1" dirty="0">
                <a:solidFill>
                  <a:schemeClr val="bg1"/>
                </a:solidFill>
                <a:cs typeface="Arial" panose="020B0604020202020204" pitchFamily="34" charset="0"/>
              </a:rPr>
              <a:t>Market Share a valore</a:t>
            </a:r>
            <a:br>
              <a:rPr lang="it-IT" sz="1400" i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it-IT" sz="1400" i="1" dirty="0">
                <a:solidFill>
                  <a:schemeClr val="bg1"/>
                </a:solidFill>
                <a:cs typeface="Arial" panose="020B0604020202020204" pitchFamily="34" charset="0"/>
              </a:rPr>
              <a:t>Price </a:t>
            </a:r>
            <a:r>
              <a:rPr lang="it-IT" sz="1400" i="1" dirty="0" err="1">
                <a:solidFill>
                  <a:schemeClr val="bg1"/>
                </a:solidFill>
                <a:cs typeface="Arial" panose="020B0604020202020204" pitchFamily="34" charset="0"/>
              </a:rPr>
              <a:t>Premiumness</a:t>
            </a:r>
            <a:br>
              <a:rPr lang="it-IT" sz="1400" i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it-IT" sz="1400" i="1" dirty="0">
                <a:solidFill>
                  <a:schemeClr val="bg1"/>
                </a:solidFill>
                <a:cs typeface="Arial" panose="020B0604020202020204" pitchFamily="34" charset="0"/>
              </a:rPr>
              <a:t>Customer Binding                                                </a:t>
            </a:r>
            <a:r>
              <a:rPr lang="it-IT" sz="1200" i="1" dirty="0">
                <a:solidFill>
                  <a:schemeClr val="bg1"/>
                </a:solidFill>
                <a:cs typeface="Arial" panose="020B0604020202020204" pitchFamily="34" charset="0"/>
              </a:rPr>
              <a:t>(in base a frequenza di acquisto)</a:t>
            </a:r>
            <a:endParaRPr lang="it-IT" sz="1400" i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68" name="Textfeld 43">
            <a:extLst>
              <a:ext uri="{FF2B5EF4-FFF2-40B4-BE49-F238E27FC236}">
                <a16:creationId xmlns:a16="http://schemas.microsoft.com/office/drawing/2014/main" id="{013A16E1-0225-46B4-9963-9F803ED46265}"/>
              </a:ext>
            </a:extLst>
          </p:cNvPr>
          <p:cNvSpPr txBox="1"/>
          <p:nvPr/>
        </p:nvSpPr>
        <p:spPr bwMode="gray">
          <a:xfrm>
            <a:off x="2282633" y="2419468"/>
            <a:ext cx="186388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de-DE" sz="1600" b="1" dirty="0">
                <a:solidFill>
                  <a:schemeClr val="bg1"/>
                </a:solidFill>
                <a:cs typeface="Arial" panose="020B0604020202020204" pitchFamily="34" charset="0"/>
              </a:rPr>
              <a:t>SHARE OF SOUL </a:t>
            </a:r>
          </a:p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en-US" sz="1467" i="1" dirty="0">
                <a:solidFill>
                  <a:schemeClr val="bg1"/>
                </a:solidFill>
                <a:cs typeface="Arial" panose="020B0604020202020204" pitchFamily="34" charset="0"/>
              </a:rPr>
              <a:t>Brand awareness</a:t>
            </a:r>
            <a:br>
              <a:rPr lang="en-US" sz="1467" i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1467" i="1" dirty="0">
                <a:solidFill>
                  <a:schemeClr val="bg1"/>
                </a:solidFill>
                <a:cs typeface="Arial" panose="020B0604020202020204" pitchFamily="34" charset="0"/>
              </a:rPr>
              <a:t>Brand Relationship                   Brand Experience Cross selling potential</a:t>
            </a:r>
          </a:p>
        </p:txBody>
      </p:sp>
      <p:grpSp>
        <p:nvGrpSpPr>
          <p:cNvPr id="69" name="Gruppieren 70">
            <a:extLst>
              <a:ext uri="{FF2B5EF4-FFF2-40B4-BE49-F238E27FC236}">
                <a16:creationId xmlns:a16="http://schemas.microsoft.com/office/drawing/2014/main" id="{54730EE0-FE34-4BBF-B02E-1E4E3089E598}"/>
              </a:ext>
            </a:extLst>
          </p:cNvPr>
          <p:cNvGrpSpPr/>
          <p:nvPr/>
        </p:nvGrpSpPr>
        <p:grpSpPr>
          <a:xfrm rot="10800000">
            <a:off x="2143088" y="3951233"/>
            <a:ext cx="3280797" cy="485988"/>
            <a:chOff x="6009948" y="1671145"/>
            <a:chExt cx="2460653" cy="741862"/>
          </a:xfrm>
        </p:grpSpPr>
        <p:cxnSp>
          <p:nvCxnSpPr>
            <p:cNvPr id="70" name="Gerader Verbinder 71">
              <a:extLst>
                <a:ext uri="{FF2B5EF4-FFF2-40B4-BE49-F238E27FC236}">
                  <a16:creationId xmlns:a16="http://schemas.microsoft.com/office/drawing/2014/main" id="{3D750687-CA19-477D-8F04-12DC58D26B82}"/>
                </a:ext>
              </a:extLst>
            </p:cNvPr>
            <p:cNvCxnSpPr/>
            <p:nvPr/>
          </p:nvCxnSpPr>
          <p:spPr>
            <a:xfrm rot="10800000" flipH="1">
              <a:off x="6009948" y="1671145"/>
              <a:ext cx="805463" cy="741862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  <p:cxnSp>
          <p:nvCxnSpPr>
            <p:cNvPr id="71" name="Gerader Verbinder 72">
              <a:extLst>
                <a:ext uri="{FF2B5EF4-FFF2-40B4-BE49-F238E27FC236}">
                  <a16:creationId xmlns:a16="http://schemas.microsoft.com/office/drawing/2014/main" id="{08893E51-E335-4F96-AF64-95D1866DBC8C}"/>
                </a:ext>
              </a:extLst>
            </p:cNvPr>
            <p:cNvCxnSpPr/>
            <p:nvPr/>
          </p:nvCxnSpPr>
          <p:spPr>
            <a:xfrm rot="10800000" flipH="1">
              <a:off x="6810977" y="1673989"/>
              <a:ext cx="1659624" cy="0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</p:grpSp>
      <p:grpSp>
        <p:nvGrpSpPr>
          <p:cNvPr id="72" name="Gruppo 71">
            <a:extLst>
              <a:ext uri="{FF2B5EF4-FFF2-40B4-BE49-F238E27FC236}">
                <a16:creationId xmlns:a16="http://schemas.microsoft.com/office/drawing/2014/main" id="{0D8C2F97-16B6-494E-BEF8-DFB30F7B4FE4}"/>
              </a:ext>
            </a:extLst>
          </p:cNvPr>
          <p:cNvGrpSpPr/>
          <p:nvPr/>
        </p:nvGrpSpPr>
        <p:grpSpPr>
          <a:xfrm>
            <a:off x="5482559" y="2617662"/>
            <a:ext cx="2875485" cy="960000"/>
            <a:chOff x="503945" y="1914464"/>
            <a:chExt cx="2964750" cy="899669"/>
          </a:xfrm>
        </p:grpSpPr>
        <p:sp>
          <p:nvSpPr>
            <p:cNvPr id="73" name="Rettangolo con angoli arrotondati 72">
              <a:extLst>
                <a:ext uri="{FF2B5EF4-FFF2-40B4-BE49-F238E27FC236}">
                  <a16:creationId xmlns:a16="http://schemas.microsoft.com/office/drawing/2014/main" id="{516A4D4C-DD22-483B-AC6A-77787642DA36}"/>
                </a:ext>
              </a:extLst>
            </p:cNvPr>
            <p:cNvSpPr/>
            <p:nvPr/>
          </p:nvSpPr>
          <p:spPr>
            <a:xfrm>
              <a:off x="503945" y="1914464"/>
              <a:ext cx="2964750" cy="899669"/>
            </a:xfrm>
            <a:prstGeom prst="roundRect">
              <a:avLst/>
            </a:prstGeom>
            <a:ln>
              <a:solidFill>
                <a:srgbClr val="FF3399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4" name="CasellaDiTesto 73">
              <a:extLst>
                <a:ext uri="{FF2B5EF4-FFF2-40B4-BE49-F238E27FC236}">
                  <a16:creationId xmlns:a16="http://schemas.microsoft.com/office/drawing/2014/main" id="{3311C47C-B539-4CAC-B522-C14E2D1816DC}"/>
                </a:ext>
              </a:extLst>
            </p:cNvPr>
            <p:cNvSpPr txBox="1"/>
            <p:nvPr/>
          </p:nvSpPr>
          <p:spPr>
            <a:xfrm>
              <a:off x="547863" y="1958382"/>
              <a:ext cx="2876914" cy="811833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0" tIns="101600" rIns="101600" bIns="101600" numCol="1" spcCol="1270" anchor="ctr" anchorCtr="0">
              <a:no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48219">
                <a:spcBef>
                  <a:spcPct val="0"/>
                </a:spcBef>
              </a:pPr>
              <a:r>
                <a:rPr lang="en-US" sz="2400" b="1" noProof="1">
                  <a:solidFill>
                    <a:srgbClr val="FF3399"/>
                  </a:solidFill>
                </a:rPr>
                <a:t>Best Product*</a:t>
              </a:r>
            </a:p>
            <a:p>
              <a:pPr algn="ctr" defTabSz="948219">
                <a:spcBef>
                  <a:spcPct val="0"/>
                </a:spcBef>
              </a:pPr>
              <a:r>
                <a:rPr lang="en-US" sz="1400" b="1" noProof="1">
                  <a:solidFill>
                    <a:srgbClr val="414549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IL </a:t>
              </a:r>
              <a:r>
                <a:rPr lang="it-IT" sz="1400" b="1" dirty="0">
                  <a:solidFill>
                    <a:srgbClr val="414549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MIGLIOR BRAND PRODOTTO</a:t>
              </a:r>
            </a:p>
          </p:txBody>
        </p:sp>
      </p:grpSp>
      <p:sp>
        <p:nvSpPr>
          <p:cNvPr id="2" name="Elemento grafico 65" descr="Cuore">
            <a:extLst>
              <a:ext uri="{FF2B5EF4-FFF2-40B4-BE49-F238E27FC236}">
                <a16:creationId xmlns:a16="http://schemas.microsoft.com/office/drawing/2014/main" id="{48D2611E-C9F0-495D-ACC1-2F38E9D0BF5C}"/>
              </a:ext>
            </a:extLst>
          </p:cNvPr>
          <p:cNvSpPr/>
          <p:nvPr/>
        </p:nvSpPr>
        <p:spPr>
          <a:xfrm>
            <a:off x="1091540" y="2382366"/>
            <a:ext cx="647957" cy="628395"/>
          </a:xfrm>
          <a:custGeom>
            <a:avLst/>
            <a:gdLst>
              <a:gd name="connsiteX0" fmla="*/ 242984 w 485968"/>
              <a:gd name="connsiteY0" fmla="*/ 98239 h 471296"/>
              <a:gd name="connsiteX1" fmla="*/ 0 w 485968"/>
              <a:gd name="connsiteY1" fmla="*/ 127499 h 471296"/>
              <a:gd name="connsiteX2" fmla="*/ 242984 w 485968"/>
              <a:gd name="connsiteY2" fmla="*/ 471296 h 471296"/>
              <a:gd name="connsiteX3" fmla="*/ 485968 w 485968"/>
              <a:gd name="connsiteY3" fmla="*/ 127499 h 471296"/>
              <a:gd name="connsiteX4" fmla="*/ 242984 w 485968"/>
              <a:gd name="connsiteY4" fmla="*/ 98239 h 471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5968" h="471296">
                <a:moveTo>
                  <a:pt x="242984" y="98239"/>
                </a:moveTo>
                <a:cubicBezTo>
                  <a:pt x="152937" y="-84632"/>
                  <a:pt x="0" y="25091"/>
                  <a:pt x="0" y="127499"/>
                </a:cubicBezTo>
                <a:cubicBezTo>
                  <a:pt x="0" y="281110"/>
                  <a:pt x="242984" y="471296"/>
                  <a:pt x="242984" y="471296"/>
                </a:cubicBezTo>
                <a:cubicBezTo>
                  <a:pt x="242984" y="471296"/>
                  <a:pt x="485968" y="281110"/>
                  <a:pt x="485968" y="127499"/>
                </a:cubicBezTo>
                <a:cubicBezTo>
                  <a:pt x="485968" y="25091"/>
                  <a:pt x="333031" y="-84632"/>
                  <a:pt x="242984" y="98239"/>
                </a:cubicBezTo>
                <a:close/>
              </a:path>
            </a:pathLst>
          </a:custGeom>
          <a:solidFill>
            <a:srgbClr val="FF3399"/>
          </a:solidFill>
          <a:ln w="7144" cap="flat">
            <a:solidFill>
              <a:srgbClr val="FF3399"/>
            </a:solidFill>
            <a:prstDash val="solid"/>
            <a:miter/>
          </a:ln>
        </p:spPr>
        <p:txBody>
          <a:bodyPr rtlCol="0" anchor="ctr"/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51872"/>
            <a:endParaRPr lang="it-IT" sz="2844">
              <a:solidFill>
                <a:srgbClr val="464646"/>
              </a:solidFill>
              <a:latin typeface="Arial"/>
            </a:endParaRPr>
          </a:p>
        </p:txBody>
      </p:sp>
      <p:grpSp>
        <p:nvGrpSpPr>
          <p:cNvPr id="3" name="Elemento grafico 66" descr="Testa con ingranaggi">
            <a:extLst>
              <a:ext uri="{FF2B5EF4-FFF2-40B4-BE49-F238E27FC236}">
                <a16:creationId xmlns:a16="http://schemas.microsoft.com/office/drawing/2014/main" id="{2B778C29-A63A-4EF6-9ED2-0A7F6A7E2F13}"/>
              </a:ext>
            </a:extLst>
          </p:cNvPr>
          <p:cNvGrpSpPr/>
          <p:nvPr/>
        </p:nvGrpSpPr>
        <p:grpSpPr>
          <a:xfrm>
            <a:off x="958139" y="3951235"/>
            <a:ext cx="844964" cy="864857"/>
            <a:chOff x="1015066" y="3159143"/>
            <a:chExt cx="633723" cy="648643"/>
          </a:xfrm>
          <a:solidFill>
            <a:srgbClr val="FF3399"/>
          </a:solidFill>
        </p:grpSpPr>
        <p:sp>
          <p:nvSpPr>
            <p:cNvPr id="5" name="Figura a mano libera: forma 4">
              <a:extLst>
                <a:ext uri="{FF2B5EF4-FFF2-40B4-BE49-F238E27FC236}">
                  <a16:creationId xmlns:a16="http://schemas.microsoft.com/office/drawing/2014/main" id="{792AED6A-A805-43E7-A46C-F359644D6046}"/>
                </a:ext>
              </a:extLst>
            </p:cNvPr>
            <p:cNvSpPr/>
            <p:nvPr/>
          </p:nvSpPr>
          <p:spPr>
            <a:xfrm>
              <a:off x="1298260" y="3292249"/>
              <a:ext cx="55450" cy="56756"/>
            </a:xfrm>
            <a:custGeom>
              <a:avLst/>
              <a:gdLst>
                <a:gd name="connsiteX0" fmla="*/ 27725 w 55450"/>
                <a:gd name="connsiteY0" fmla="*/ 0 h 56756"/>
                <a:gd name="connsiteX1" fmla="*/ 0 w 55450"/>
                <a:gd name="connsiteY1" fmla="*/ 28378 h 56756"/>
                <a:gd name="connsiteX2" fmla="*/ 27725 w 55450"/>
                <a:gd name="connsiteY2" fmla="*/ 56756 h 56756"/>
                <a:gd name="connsiteX3" fmla="*/ 55451 w 55450"/>
                <a:gd name="connsiteY3" fmla="*/ 28378 h 56756"/>
                <a:gd name="connsiteX4" fmla="*/ 27725 w 55450"/>
                <a:gd name="connsiteY4" fmla="*/ 0 h 5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50" h="56756">
                  <a:moveTo>
                    <a:pt x="27725" y="0"/>
                  </a:moveTo>
                  <a:cubicBezTo>
                    <a:pt x="12542" y="0"/>
                    <a:pt x="0" y="12838"/>
                    <a:pt x="0" y="28378"/>
                  </a:cubicBezTo>
                  <a:cubicBezTo>
                    <a:pt x="0" y="43919"/>
                    <a:pt x="12542" y="56756"/>
                    <a:pt x="27725" y="56756"/>
                  </a:cubicBezTo>
                  <a:cubicBezTo>
                    <a:pt x="42908" y="56756"/>
                    <a:pt x="55451" y="43919"/>
                    <a:pt x="55451" y="28378"/>
                  </a:cubicBezTo>
                  <a:cubicBezTo>
                    <a:pt x="55451" y="12838"/>
                    <a:pt x="42908" y="0"/>
                    <a:pt x="27725" y="0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>
                <a:solidFill>
                  <a:srgbClr val="464646"/>
                </a:solidFill>
                <a:latin typeface="Arial"/>
              </a:endParaRPr>
            </a:p>
          </p:txBody>
        </p:sp>
        <p:sp>
          <p:nvSpPr>
            <p:cNvPr id="6" name="Figura a mano libera: forma 5">
              <a:extLst>
                <a:ext uri="{FF2B5EF4-FFF2-40B4-BE49-F238E27FC236}">
                  <a16:creationId xmlns:a16="http://schemas.microsoft.com/office/drawing/2014/main" id="{B8F54F82-4D8C-4B96-962F-CA30885F4A87}"/>
                </a:ext>
              </a:extLst>
            </p:cNvPr>
            <p:cNvSpPr/>
            <p:nvPr/>
          </p:nvSpPr>
          <p:spPr>
            <a:xfrm>
              <a:off x="1215084" y="3429410"/>
              <a:ext cx="55450" cy="56756"/>
            </a:xfrm>
            <a:custGeom>
              <a:avLst/>
              <a:gdLst>
                <a:gd name="connsiteX0" fmla="*/ 55451 w 55450"/>
                <a:gd name="connsiteY0" fmla="*/ 28378 h 56756"/>
                <a:gd name="connsiteX1" fmla="*/ 27725 w 55450"/>
                <a:gd name="connsiteY1" fmla="*/ 56756 h 56756"/>
                <a:gd name="connsiteX2" fmla="*/ 0 w 55450"/>
                <a:gd name="connsiteY2" fmla="*/ 28378 h 56756"/>
                <a:gd name="connsiteX3" fmla="*/ 27725 w 55450"/>
                <a:gd name="connsiteY3" fmla="*/ 0 h 56756"/>
                <a:gd name="connsiteX4" fmla="*/ 55451 w 55450"/>
                <a:gd name="connsiteY4" fmla="*/ 28378 h 5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50" h="56756">
                  <a:moveTo>
                    <a:pt x="55451" y="28378"/>
                  </a:moveTo>
                  <a:cubicBezTo>
                    <a:pt x="55451" y="44051"/>
                    <a:pt x="43038" y="56756"/>
                    <a:pt x="27725" y="56756"/>
                  </a:cubicBezTo>
                  <a:cubicBezTo>
                    <a:pt x="12413" y="56756"/>
                    <a:pt x="0" y="44051"/>
                    <a:pt x="0" y="28378"/>
                  </a:cubicBezTo>
                  <a:cubicBezTo>
                    <a:pt x="0" y="12705"/>
                    <a:pt x="12413" y="0"/>
                    <a:pt x="27725" y="0"/>
                  </a:cubicBezTo>
                  <a:cubicBezTo>
                    <a:pt x="43038" y="0"/>
                    <a:pt x="55451" y="12705"/>
                    <a:pt x="55451" y="28378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>
                <a:solidFill>
                  <a:srgbClr val="464646"/>
                </a:solidFill>
                <a:latin typeface="Arial"/>
              </a:endParaRPr>
            </a:p>
          </p:txBody>
        </p:sp>
        <p:sp>
          <p:nvSpPr>
            <p:cNvPr id="7" name="Figura a mano libera: forma 6">
              <a:extLst>
                <a:ext uri="{FF2B5EF4-FFF2-40B4-BE49-F238E27FC236}">
                  <a16:creationId xmlns:a16="http://schemas.microsoft.com/office/drawing/2014/main" id="{27215563-15D8-4011-B74D-B180A58A91FA}"/>
                </a:ext>
              </a:extLst>
            </p:cNvPr>
            <p:cNvSpPr/>
            <p:nvPr/>
          </p:nvSpPr>
          <p:spPr>
            <a:xfrm>
              <a:off x="1107351" y="3196980"/>
              <a:ext cx="449085" cy="545265"/>
            </a:xfrm>
            <a:custGeom>
              <a:avLst/>
              <a:gdLst>
                <a:gd name="connsiteX0" fmla="*/ 297190 w 449085"/>
                <a:gd name="connsiteY0" fmla="*/ 133107 h 545265"/>
                <a:gd name="connsiteX1" fmla="*/ 280687 w 449085"/>
                <a:gd name="connsiteY1" fmla="*/ 141215 h 545265"/>
                <a:gd name="connsiteX2" fmla="*/ 274086 w 449085"/>
                <a:gd name="connsiteY2" fmla="*/ 156080 h 545265"/>
                <a:gd name="connsiteX3" fmla="*/ 280027 w 449085"/>
                <a:gd name="connsiteY3" fmla="*/ 173647 h 545265"/>
                <a:gd name="connsiteX4" fmla="*/ 266824 w 449085"/>
                <a:gd name="connsiteY4" fmla="*/ 187161 h 545265"/>
                <a:gd name="connsiteX5" fmla="*/ 249661 w 449085"/>
                <a:gd name="connsiteY5" fmla="*/ 181080 h 545265"/>
                <a:gd name="connsiteX6" fmla="*/ 235138 w 449085"/>
                <a:gd name="connsiteY6" fmla="*/ 187161 h 545265"/>
                <a:gd name="connsiteX7" fmla="*/ 227217 w 449085"/>
                <a:gd name="connsiteY7" fmla="*/ 203377 h 545265"/>
                <a:gd name="connsiteX8" fmla="*/ 208733 w 449085"/>
                <a:gd name="connsiteY8" fmla="*/ 203377 h 545265"/>
                <a:gd name="connsiteX9" fmla="*/ 200812 w 449085"/>
                <a:gd name="connsiteY9" fmla="*/ 186485 h 545265"/>
                <a:gd name="connsiteX10" fmla="*/ 186289 w 449085"/>
                <a:gd name="connsiteY10" fmla="*/ 180404 h 545265"/>
                <a:gd name="connsiteX11" fmla="*/ 169125 w 449085"/>
                <a:gd name="connsiteY11" fmla="*/ 186485 h 545265"/>
                <a:gd name="connsiteX12" fmla="*/ 155923 w 449085"/>
                <a:gd name="connsiteY12" fmla="*/ 172971 h 545265"/>
                <a:gd name="connsiteX13" fmla="*/ 161864 w 449085"/>
                <a:gd name="connsiteY13" fmla="*/ 155404 h 545265"/>
                <a:gd name="connsiteX14" fmla="*/ 155923 w 449085"/>
                <a:gd name="connsiteY14" fmla="*/ 140539 h 545265"/>
                <a:gd name="connsiteX15" fmla="*/ 139420 w 449085"/>
                <a:gd name="connsiteY15" fmla="*/ 132431 h 545265"/>
                <a:gd name="connsiteX16" fmla="*/ 139420 w 449085"/>
                <a:gd name="connsiteY16" fmla="*/ 113513 h 545265"/>
                <a:gd name="connsiteX17" fmla="*/ 155923 w 449085"/>
                <a:gd name="connsiteY17" fmla="*/ 105404 h 545265"/>
                <a:gd name="connsiteX18" fmla="*/ 161864 w 449085"/>
                <a:gd name="connsiteY18" fmla="*/ 90540 h 545265"/>
                <a:gd name="connsiteX19" fmla="*/ 156583 w 449085"/>
                <a:gd name="connsiteY19" fmla="*/ 72972 h 545265"/>
                <a:gd name="connsiteX20" fmla="*/ 169785 w 449085"/>
                <a:gd name="connsiteY20" fmla="*/ 59459 h 545265"/>
                <a:gd name="connsiteX21" fmla="*/ 186949 w 449085"/>
                <a:gd name="connsiteY21" fmla="*/ 65540 h 545265"/>
                <a:gd name="connsiteX22" fmla="*/ 201472 w 449085"/>
                <a:gd name="connsiteY22" fmla="*/ 59459 h 545265"/>
                <a:gd name="connsiteX23" fmla="*/ 209393 w 449085"/>
                <a:gd name="connsiteY23" fmla="*/ 42567 h 545265"/>
                <a:gd name="connsiteX24" fmla="*/ 227877 w 449085"/>
                <a:gd name="connsiteY24" fmla="*/ 42567 h 545265"/>
                <a:gd name="connsiteX25" fmla="*/ 235798 w 449085"/>
                <a:gd name="connsiteY25" fmla="*/ 58783 h 545265"/>
                <a:gd name="connsiteX26" fmla="*/ 250321 w 449085"/>
                <a:gd name="connsiteY26" fmla="*/ 64864 h 545265"/>
                <a:gd name="connsiteX27" fmla="*/ 267484 w 449085"/>
                <a:gd name="connsiteY27" fmla="*/ 58783 h 545265"/>
                <a:gd name="connsiteX28" fmla="*/ 280687 w 449085"/>
                <a:gd name="connsiteY28" fmla="*/ 72297 h 545265"/>
                <a:gd name="connsiteX29" fmla="*/ 274746 w 449085"/>
                <a:gd name="connsiteY29" fmla="*/ 89864 h 545265"/>
                <a:gd name="connsiteX30" fmla="*/ 280687 w 449085"/>
                <a:gd name="connsiteY30" fmla="*/ 104729 h 545265"/>
                <a:gd name="connsiteX31" fmla="*/ 297190 w 449085"/>
                <a:gd name="connsiteY31" fmla="*/ 112837 h 545265"/>
                <a:gd name="connsiteX32" fmla="*/ 297190 w 449085"/>
                <a:gd name="connsiteY32" fmla="*/ 133107 h 545265"/>
                <a:gd name="connsiteX33" fmla="*/ 214014 w 449085"/>
                <a:gd name="connsiteY33" fmla="*/ 270268 h 545265"/>
                <a:gd name="connsiteX34" fmla="*/ 197511 w 449085"/>
                <a:gd name="connsiteY34" fmla="*/ 278376 h 545265"/>
                <a:gd name="connsiteX35" fmla="*/ 191570 w 449085"/>
                <a:gd name="connsiteY35" fmla="*/ 293241 h 545265"/>
                <a:gd name="connsiteX36" fmla="*/ 196851 w 449085"/>
                <a:gd name="connsiteY36" fmla="*/ 310808 h 545265"/>
                <a:gd name="connsiteX37" fmla="*/ 183648 w 449085"/>
                <a:gd name="connsiteY37" fmla="*/ 324322 h 545265"/>
                <a:gd name="connsiteX38" fmla="*/ 166485 w 449085"/>
                <a:gd name="connsiteY38" fmla="*/ 318240 h 545265"/>
                <a:gd name="connsiteX39" fmla="*/ 151962 w 449085"/>
                <a:gd name="connsiteY39" fmla="*/ 324322 h 545265"/>
                <a:gd name="connsiteX40" fmla="*/ 144701 w 449085"/>
                <a:gd name="connsiteY40" fmla="*/ 340538 h 545265"/>
                <a:gd name="connsiteX41" fmla="*/ 126217 w 449085"/>
                <a:gd name="connsiteY41" fmla="*/ 340538 h 545265"/>
                <a:gd name="connsiteX42" fmla="*/ 118295 w 449085"/>
                <a:gd name="connsiteY42" fmla="*/ 323646 h 545265"/>
                <a:gd name="connsiteX43" fmla="*/ 103773 w 449085"/>
                <a:gd name="connsiteY43" fmla="*/ 317565 h 545265"/>
                <a:gd name="connsiteX44" fmla="*/ 86609 w 449085"/>
                <a:gd name="connsiteY44" fmla="*/ 322970 h 545265"/>
                <a:gd name="connsiteX45" fmla="*/ 73407 w 449085"/>
                <a:gd name="connsiteY45" fmla="*/ 309457 h 545265"/>
                <a:gd name="connsiteX46" fmla="*/ 79348 w 449085"/>
                <a:gd name="connsiteY46" fmla="*/ 291889 h 545265"/>
                <a:gd name="connsiteX47" fmla="*/ 73407 w 449085"/>
                <a:gd name="connsiteY47" fmla="*/ 277025 h 545265"/>
                <a:gd name="connsiteX48" fmla="*/ 56904 w 449085"/>
                <a:gd name="connsiteY48" fmla="*/ 268917 h 545265"/>
                <a:gd name="connsiteX49" fmla="*/ 56904 w 449085"/>
                <a:gd name="connsiteY49" fmla="*/ 249998 h 545265"/>
                <a:gd name="connsiteX50" fmla="*/ 73407 w 449085"/>
                <a:gd name="connsiteY50" fmla="*/ 241890 h 545265"/>
                <a:gd name="connsiteX51" fmla="*/ 79348 w 449085"/>
                <a:gd name="connsiteY51" fmla="*/ 227025 h 545265"/>
                <a:gd name="connsiteX52" fmla="*/ 73407 w 449085"/>
                <a:gd name="connsiteY52" fmla="*/ 209458 h 545265"/>
                <a:gd name="connsiteX53" fmla="*/ 86609 w 449085"/>
                <a:gd name="connsiteY53" fmla="*/ 195944 h 545265"/>
                <a:gd name="connsiteX54" fmla="*/ 103773 w 449085"/>
                <a:gd name="connsiteY54" fmla="*/ 202025 h 545265"/>
                <a:gd name="connsiteX55" fmla="*/ 118295 w 449085"/>
                <a:gd name="connsiteY55" fmla="*/ 195944 h 545265"/>
                <a:gd name="connsiteX56" fmla="*/ 126217 w 449085"/>
                <a:gd name="connsiteY56" fmla="*/ 179052 h 545265"/>
                <a:gd name="connsiteX57" fmla="*/ 145361 w 449085"/>
                <a:gd name="connsiteY57" fmla="*/ 179052 h 545265"/>
                <a:gd name="connsiteX58" fmla="*/ 153282 w 449085"/>
                <a:gd name="connsiteY58" fmla="*/ 195944 h 545265"/>
                <a:gd name="connsiteX59" fmla="*/ 167805 w 449085"/>
                <a:gd name="connsiteY59" fmla="*/ 202025 h 545265"/>
                <a:gd name="connsiteX60" fmla="*/ 184968 w 449085"/>
                <a:gd name="connsiteY60" fmla="*/ 195944 h 545265"/>
                <a:gd name="connsiteX61" fmla="*/ 198171 w 449085"/>
                <a:gd name="connsiteY61" fmla="*/ 209458 h 545265"/>
                <a:gd name="connsiteX62" fmla="*/ 192230 w 449085"/>
                <a:gd name="connsiteY62" fmla="*/ 227025 h 545265"/>
                <a:gd name="connsiteX63" fmla="*/ 198171 w 449085"/>
                <a:gd name="connsiteY63" fmla="*/ 241890 h 545265"/>
                <a:gd name="connsiteX64" fmla="*/ 214674 w 449085"/>
                <a:gd name="connsiteY64" fmla="*/ 249998 h 545265"/>
                <a:gd name="connsiteX65" fmla="*/ 214014 w 449085"/>
                <a:gd name="connsiteY65" fmla="*/ 270268 h 545265"/>
                <a:gd name="connsiteX66" fmla="*/ 214014 w 449085"/>
                <a:gd name="connsiteY66" fmla="*/ 270268 h 545265"/>
                <a:gd name="connsiteX67" fmla="*/ 442418 w 449085"/>
                <a:gd name="connsiteY67" fmla="*/ 295268 h 545265"/>
                <a:gd name="connsiteX68" fmla="*/ 396870 w 449085"/>
                <a:gd name="connsiteY68" fmla="*/ 214187 h 545265"/>
                <a:gd name="connsiteX69" fmla="*/ 396870 w 449085"/>
                <a:gd name="connsiteY69" fmla="*/ 210809 h 545265"/>
                <a:gd name="connsiteX70" fmla="*/ 299831 w 449085"/>
                <a:gd name="connsiteY70" fmla="*/ 28378 h 545265"/>
                <a:gd name="connsiteX71" fmla="*/ 97171 w 449085"/>
                <a:gd name="connsiteY71" fmla="*/ 28378 h 545265"/>
                <a:gd name="connsiteX72" fmla="*/ 133 w 449085"/>
                <a:gd name="connsiteY72" fmla="*/ 210809 h 545265"/>
                <a:gd name="connsiteX73" fmla="*/ 78028 w 449085"/>
                <a:gd name="connsiteY73" fmla="*/ 374321 h 545265"/>
                <a:gd name="connsiteX74" fmla="*/ 78028 w 449085"/>
                <a:gd name="connsiteY74" fmla="*/ 545266 h 545265"/>
                <a:gd name="connsiteX75" fmla="*/ 286628 w 449085"/>
                <a:gd name="connsiteY75" fmla="*/ 545266 h 545265"/>
                <a:gd name="connsiteX76" fmla="*/ 286628 w 449085"/>
                <a:gd name="connsiteY76" fmla="*/ 464185 h 545265"/>
                <a:gd name="connsiteX77" fmla="*/ 318974 w 449085"/>
                <a:gd name="connsiteY77" fmla="*/ 464185 h 545265"/>
                <a:gd name="connsiteX78" fmla="*/ 374425 w 449085"/>
                <a:gd name="connsiteY78" fmla="*/ 440537 h 545265"/>
                <a:gd name="connsiteX79" fmla="*/ 396870 w 449085"/>
                <a:gd name="connsiteY79" fmla="*/ 383105 h 545265"/>
                <a:gd name="connsiteX80" fmla="*/ 396870 w 449085"/>
                <a:gd name="connsiteY80" fmla="*/ 342565 h 545265"/>
                <a:gd name="connsiteX81" fmla="*/ 425915 w 449085"/>
                <a:gd name="connsiteY81" fmla="*/ 342565 h 545265"/>
                <a:gd name="connsiteX82" fmla="*/ 442418 w 449085"/>
                <a:gd name="connsiteY82" fmla="*/ 295268 h 545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9085" h="545265">
                  <a:moveTo>
                    <a:pt x="297190" y="133107"/>
                  </a:moveTo>
                  <a:lnTo>
                    <a:pt x="280687" y="141215"/>
                  </a:lnTo>
                  <a:cubicBezTo>
                    <a:pt x="279367" y="146620"/>
                    <a:pt x="276726" y="151350"/>
                    <a:pt x="274086" y="156080"/>
                  </a:cubicBezTo>
                  <a:lnTo>
                    <a:pt x="280027" y="173647"/>
                  </a:lnTo>
                  <a:lnTo>
                    <a:pt x="266824" y="187161"/>
                  </a:lnTo>
                  <a:lnTo>
                    <a:pt x="249661" y="181080"/>
                  </a:lnTo>
                  <a:cubicBezTo>
                    <a:pt x="245040" y="183782"/>
                    <a:pt x="240419" y="185809"/>
                    <a:pt x="235138" y="187161"/>
                  </a:cubicBezTo>
                  <a:lnTo>
                    <a:pt x="227217" y="203377"/>
                  </a:lnTo>
                  <a:lnTo>
                    <a:pt x="208733" y="203377"/>
                  </a:lnTo>
                  <a:lnTo>
                    <a:pt x="200812" y="186485"/>
                  </a:lnTo>
                  <a:cubicBezTo>
                    <a:pt x="195530" y="185134"/>
                    <a:pt x="190910" y="183107"/>
                    <a:pt x="186289" y="180404"/>
                  </a:cubicBezTo>
                  <a:lnTo>
                    <a:pt x="169125" y="186485"/>
                  </a:lnTo>
                  <a:lnTo>
                    <a:pt x="155923" y="172971"/>
                  </a:lnTo>
                  <a:lnTo>
                    <a:pt x="161864" y="155404"/>
                  </a:lnTo>
                  <a:cubicBezTo>
                    <a:pt x="159223" y="150674"/>
                    <a:pt x="157243" y="145945"/>
                    <a:pt x="155923" y="140539"/>
                  </a:cubicBezTo>
                  <a:lnTo>
                    <a:pt x="139420" y="132431"/>
                  </a:lnTo>
                  <a:lnTo>
                    <a:pt x="139420" y="113513"/>
                  </a:lnTo>
                  <a:lnTo>
                    <a:pt x="155923" y="105404"/>
                  </a:lnTo>
                  <a:cubicBezTo>
                    <a:pt x="157243" y="99999"/>
                    <a:pt x="159223" y="95269"/>
                    <a:pt x="161864" y="90540"/>
                  </a:cubicBezTo>
                  <a:lnTo>
                    <a:pt x="156583" y="72972"/>
                  </a:lnTo>
                  <a:lnTo>
                    <a:pt x="169785" y="59459"/>
                  </a:lnTo>
                  <a:lnTo>
                    <a:pt x="186949" y="65540"/>
                  </a:lnTo>
                  <a:cubicBezTo>
                    <a:pt x="191570" y="62837"/>
                    <a:pt x="196191" y="60810"/>
                    <a:pt x="201472" y="59459"/>
                  </a:cubicBezTo>
                  <a:lnTo>
                    <a:pt x="209393" y="42567"/>
                  </a:lnTo>
                  <a:lnTo>
                    <a:pt x="227877" y="42567"/>
                  </a:lnTo>
                  <a:lnTo>
                    <a:pt x="235798" y="58783"/>
                  </a:lnTo>
                  <a:cubicBezTo>
                    <a:pt x="241079" y="60135"/>
                    <a:pt x="245700" y="62162"/>
                    <a:pt x="250321" y="64864"/>
                  </a:cubicBezTo>
                  <a:lnTo>
                    <a:pt x="267484" y="58783"/>
                  </a:lnTo>
                  <a:lnTo>
                    <a:pt x="280687" y="72297"/>
                  </a:lnTo>
                  <a:lnTo>
                    <a:pt x="274746" y="89864"/>
                  </a:lnTo>
                  <a:cubicBezTo>
                    <a:pt x="277386" y="94594"/>
                    <a:pt x="279367" y="99323"/>
                    <a:pt x="280687" y="104729"/>
                  </a:cubicBezTo>
                  <a:lnTo>
                    <a:pt x="297190" y="112837"/>
                  </a:lnTo>
                  <a:lnTo>
                    <a:pt x="297190" y="133107"/>
                  </a:lnTo>
                  <a:close/>
                  <a:moveTo>
                    <a:pt x="214014" y="270268"/>
                  </a:moveTo>
                  <a:lnTo>
                    <a:pt x="197511" y="278376"/>
                  </a:lnTo>
                  <a:cubicBezTo>
                    <a:pt x="196191" y="283781"/>
                    <a:pt x="194210" y="288511"/>
                    <a:pt x="191570" y="293241"/>
                  </a:cubicBezTo>
                  <a:lnTo>
                    <a:pt x="196851" y="310808"/>
                  </a:lnTo>
                  <a:lnTo>
                    <a:pt x="183648" y="324322"/>
                  </a:lnTo>
                  <a:lnTo>
                    <a:pt x="166485" y="318240"/>
                  </a:lnTo>
                  <a:cubicBezTo>
                    <a:pt x="161864" y="320943"/>
                    <a:pt x="157243" y="322970"/>
                    <a:pt x="151962" y="324322"/>
                  </a:cubicBezTo>
                  <a:lnTo>
                    <a:pt x="144701" y="340538"/>
                  </a:lnTo>
                  <a:lnTo>
                    <a:pt x="126217" y="340538"/>
                  </a:lnTo>
                  <a:lnTo>
                    <a:pt x="118295" y="323646"/>
                  </a:lnTo>
                  <a:cubicBezTo>
                    <a:pt x="113014" y="322295"/>
                    <a:pt x="108394" y="320267"/>
                    <a:pt x="103773" y="317565"/>
                  </a:cubicBezTo>
                  <a:lnTo>
                    <a:pt x="86609" y="322970"/>
                  </a:lnTo>
                  <a:lnTo>
                    <a:pt x="73407" y="309457"/>
                  </a:lnTo>
                  <a:lnTo>
                    <a:pt x="79348" y="291889"/>
                  </a:lnTo>
                  <a:cubicBezTo>
                    <a:pt x="76707" y="287160"/>
                    <a:pt x="74727" y="282430"/>
                    <a:pt x="73407" y="277025"/>
                  </a:cubicBezTo>
                  <a:lnTo>
                    <a:pt x="56904" y="268917"/>
                  </a:lnTo>
                  <a:lnTo>
                    <a:pt x="56904" y="249998"/>
                  </a:lnTo>
                  <a:lnTo>
                    <a:pt x="73407" y="241890"/>
                  </a:lnTo>
                  <a:cubicBezTo>
                    <a:pt x="74727" y="236484"/>
                    <a:pt x="76707" y="231755"/>
                    <a:pt x="79348" y="227025"/>
                  </a:cubicBezTo>
                  <a:lnTo>
                    <a:pt x="73407" y="209458"/>
                  </a:lnTo>
                  <a:lnTo>
                    <a:pt x="86609" y="195944"/>
                  </a:lnTo>
                  <a:lnTo>
                    <a:pt x="103773" y="202025"/>
                  </a:lnTo>
                  <a:cubicBezTo>
                    <a:pt x="108394" y="199323"/>
                    <a:pt x="113014" y="197296"/>
                    <a:pt x="118295" y="195944"/>
                  </a:cubicBezTo>
                  <a:lnTo>
                    <a:pt x="126217" y="179052"/>
                  </a:lnTo>
                  <a:lnTo>
                    <a:pt x="145361" y="179052"/>
                  </a:lnTo>
                  <a:lnTo>
                    <a:pt x="153282" y="195944"/>
                  </a:lnTo>
                  <a:cubicBezTo>
                    <a:pt x="158563" y="197296"/>
                    <a:pt x="163184" y="199323"/>
                    <a:pt x="167805" y="202025"/>
                  </a:cubicBezTo>
                  <a:lnTo>
                    <a:pt x="184968" y="195944"/>
                  </a:lnTo>
                  <a:lnTo>
                    <a:pt x="198171" y="209458"/>
                  </a:lnTo>
                  <a:lnTo>
                    <a:pt x="192230" y="227025"/>
                  </a:lnTo>
                  <a:cubicBezTo>
                    <a:pt x="194870" y="231755"/>
                    <a:pt x="196851" y="236484"/>
                    <a:pt x="198171" y="241890"/>
                  </a:cubicBezTo>
                  <a:lnTo>
                    <a:pt x="214674" y="249998"/>
                  </a:lnTo>
                  <a:lnTo>
                    <a:pt x="214014" y="270268"/>
                  </a:lnTo>
                  <a:lnTo>
                    <a:pt x="214014" y="270268"/>
                  </a:lnTo>
                  <a:close/>
                  <a:moveTo>
                    <a:pt x="442418" y="295268"/>
                  </a:moveTo>
                  <a:lnTo>
                    <a:pt x="396870" y="214187"/>
                  </a:lnTo>
                  <a:lnTo>
                    <a:pt x="396870" y="210809"/>
                  </a:lnTo>
                  <a:cubicBezTo>
                    <a:pt x="399510" y="136485"/>
                    <a:pt x="362543" y="66891"/>
                    <a:pt x="299831" y="28378"/>
                  </a:cubicBezTo>
                  <a:cubicBezTo>
                    <a:pt x="237119" y="-9459"/>
                    <a:pt x="159884" y="-9459"/>
                    <a:pt x="97171" y="28378"/>
                  </a:cubicBezTo>
                  <a:cubicBezTo>
                    <a:pt x="34459" y="66216"/>
                    <a:pt x="-2508" y="136485"/>
                    <a:pt x="133" y="210809"/>
                  </a:cubicBezTo>
                  <a:cubicBezTo>
                    <a:pt x="133" y="274998"/>
                    <a:pt x="28518" y="335132"/>
                    <a:pt x="78028" y="374321"/>
                  </a:cubicBezTo>
                  <a:lnTo>
                    <a:pt x="78028" y="545266"/>
                  </a:lnTo>
                  <a:lnTo>
                    <a:pt x="286628" y="545266"/>
                  </a:lnTo>
                  <a:lnTo>
                    <a:pt x="286628" y="464185"/>
                  </a:lnTo>
                  <a:lnTo>
                    <a:pt x="318974" y="464185"/>
                  </a:lnTo>
                  <a:cubicBezTo>
                    <a:pt x="340099" y="464185"/>
                    <a:pt x="359902" y="455401"/>
                    <a:pt x="374425" y="440537"/>
                  </a:cubicBezTo>
                  <a:cubicBezTo>
                    <a:pt x="388948" y="424996"/>
                    <a:pt x="396870" y="404726"/>
                    <a:pt x="396870" y="383105"/>
                  </a:cubicBezTo>
                  <a:lnTo>
                    <a:pt x="396870" y="342565"/>
                  </a:lnTo>
                  <a:lnTo>
                    <a:pt x="425915" y="342565"/>
                  </a:lnTo>
                  <a:cubicBezTo>
                    <a:pt x="443079" y="340538"/>
                    <a:pt x="458261" y="320267"/>
                    <a:pt x="442418" y="295268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 dirty="0">
                <a:solidFill>
                  <a:srgbClr val="464646"/>
                </a:solidFill>
                <a:latin typeface="Arial"/>
              </a:endParaRPr>
            </a:p>
          </p:txBody>
        </p:sp>
      </p:grp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C1A96A9E-F196-43D6-B41A-5A95F2C640EE}"/>
              </a:ext>
            </a:extLst>
          </p:cNvPr>
          <p:cNvSpPr txBox="1"/>
          <p:nvPr/>
        </p:nvSpPr>
        <p:spPr>
          <a:xfrm>
            <a:off x="5665028" y="4661574"/>
            <a:ext cx="2693017" cy="2306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51872">
              <a:lnSpc>
                <a:spcPct val="120000"/>
              </a:lnSpc>
              <a:spcAft>
                <a:spcPts val="800"/>
              </a:spcAft>
            </a:pPr>
            <a:r>
              <a:rPr lang="it-IT" sz="1067" i="1" dirty="0">
                <a:solidFill>
                  <a:schemeClr val="bg1"/>
                </a:solidFill>
                <a:cs typeface="Arial" panose="020B0604020202020204" pitchFamily="34" charset="0"/>
              </a:rPr>
              <a:t>* Media dei punteggi sulle due dimensioni 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EC1E397C-C2F1-4D4E-8714-B5033492FAA1}"/>
              </a:ext>
            </a:extLst>
          </p:cNvPr>
          <p:cNvSpPr/>
          <p:nvPr/>
        </p:nvSpPr>
        <p:spPr>
          <a:xfrm>
            <a:off x="675214" y="1567955"/>
            <a:ext cx="10361721" cy="375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</a:pPr>
            <a:r>
              <a:rPr lang="it-IT" sz="1800" dirty="0">
                <a:solidFill>
                  <a:schemeClr val="bg1"/>
                </a:solidFill>
              </a:rPr>
              <a:t>È basata su:</a:t>
            </a:r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id="{B0ED8152-099F-458D-83E1-EF43E6CF5D0A}"/>
              </a:ext>
            </a:extLst>
          </p:cNvPr>
          <p:cNvSpPr/>
          <p:nvPr/>
        </p:nvSpPr>
        <p:spPr>
          <a:xfrm>
            <a:off x="5478965" y="3614202"/>
            <a:ext cx="2875485" cy="96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7424240F-A018-4CF8-A70F-71BE5E3E1CCB}"/>
              </a:ext>
            </a:extLst>
          </p:cNvPr>
          <p:cNvSpPr txBox="1"/>
          <p:nvPr/>
        </p:nvSpPr>
        <p:spPr>
          <a:xfrm>
            <a:off x="5521561" y="3661065"/>
            <a:ext cx="2790294" cy="8662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600" tIns="101600" rIns="101600" bIns="101600" numCol="1" spcCol="1270" anchor="ctr" anchorCtr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48219">
              <a:spcBef>
                <a:spcPct val="0"/>
              </a:spcBef>
            </a:pPr>
            <a:r>
              <a:rPr lang="en-US" sz="2400" b="1" noProof="1">
                <a:solidFill>
                  <a:schemeClr val="bg1">
                    <a:lumMod val="50000"/>
                  </a:schemeClr>
                </a:solidFill>
              </a:rPr>
              <a:t>Best Service*</a:t>
            </a:r>
          </a:p>
          <a:p>
            <a:pPr algn="ctr" defTabSz="948219">
              <a:spcBef>
                <a:spcPct val="0"/>
              </a:spcBef>
            </a:pPr>
            <a:r>
              <a:rPr lang="en-US" sz="1400" b="1" noProof="1">
                <a:solidFill>
                  <a:schemeClr val="bg1">
                    <a:lumMod val="50000"/>
                  </a:schemeClr>
                </a:solidFill>
              </a:rPr>
              <a:t>IL </a:t>
            </a:r>
            <a:r>
              <a:rPr lang="it-IT" sz="1400" b="1" dirty="0">
                <a:solidFill>
                  <a:schemeClr val="bg1">
                    <a:lumMod val="50000"/>
                  </a:schemeClr>
                </a:solidFill>
              </a:rPr>
              <a:t>MIGLIOR BRAND </a:t>
            </a:r>
          </a:p>
          <a:p>
            <a:pPr algn="ctr" defTabSz="948219">
              <a:spcBef>
                <a:spcPct val="0"/>
              </a:spcBef>
            </a:pPr>
            <a:r>
              <a:rPr lang="it-IT" sz="1400" b="1" dirty="0">
                <a:solidFill>
                  <a:schemeClr val="bg1">
                    <a:lumMod val="50000"/>
                  </a:schemeClr>
                </a:solidFill>
              </a:rPr>
              <a:t>SERVIZIO</a:t>
            </a:r>
          </a:p>
        </p:txBody>
      </p:sp>
      <p:sp>
        <p:nvSpPr>
          <p:cNvPr id="8" name="Sottotitolo 7">
            <a:extLst>
              <a:ext uri="{FF2B5EF4-FFF2-40B4-BE49-F238E27FC236}">
                <a16:creationId xmlns:a16="http://schemas.microsoft.com/office/drawing/2014/main" id="{4BE8C7CD-E0C3-43E5-9738-2A9F832A4CA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Premia i migliori Brand prodotto, valutandoli in base ad indicatori sia oggettivi sia emozionali.</a:t>
            </a:r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FEA91FCB-2FF1-4128-B8C8-4EF5D6470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8641357" cy="369332"/>
          </a:xfrm>
        </p:spPr>
        <p:txBody>
          <a:bodyPr/>
          <a:lstStyle/>
          <a:p>
            <a:r>
              <a:rPr lang="en-GB" sz="2400" b="1" dirty="0">
                <a:solidFill>
                  <a:srgbClr val="FF3399"/>
                </a:solidFill>
                <a:latin typeface="+mj-lt"/>
                <a:ea typeface="+mj-ea"/>
                <a:cs typeface="+mj-cs"/>
              </a:rPr>
              <a:t>Best Product </a:t>
            </a:r>
            <a:r>
              <a:rPr lang="en-GB" sz="2400" b="1" dirty="0">
                <a:latin typeface="+mj-lt"/>
                <a:ea typeface="+mj-ea"/>
                <a:cs typeface="+mj-cs"/>
              </a:rPr>
              <a:t>Brand: il </a:t>
            </a:r>
            <a:r>
              <a:rPr lang="it-IT" sz="2400" b="1" dirty="0">
                <a:latin typeface="+mj-lt"/>
                <a:ea typeface="+mj-ea"/>
                <a:cs typeface="+mj-cs"/>
              </a:rPr>
              <a:t>modello</a:t>
            </a:r>
            <a:endParaRPr lang="en-GB" dirty="0"/>
          </a:p>
        </p:txBody>
      </p:sp>
      <p:sp>
        <p:nvSpPr>
          <p:cNvPr id="38" name="Segnaposto numero diapositiva 12">
            <a:extLst>
              <a:ext uri="{FF2B5EF4-FFF2-40B4-BE49-F238E27FC236}">
                <a16:creationId xmlns:a16="http://schemas.microsoft.com/office/drawing/2014/main" id="{FF2A4D7C-5986-469E-9014-D0D66BFD2B7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51872">
              <a:defRPr/>
            </a:pPr>
            <a:fld id="{D3E092A3-C138-8A47-8C92-5DB40FA2E463}" type="slidenum">
              <a:rPr lang="en-US" smtClean="0">
                <a:solidFill>
                  <a:srgbClr val="35434D"/>
                </a:solidFill>
              </a:rPr>
              <a:pPr defTabSz="1051872">
                <a:defRPr/>
              </a:pPr>
              <a:t>21</a:t>
            </a:fld>
            <a:endParaRPr lang="en-US" dirty="0">
              <a:solidFill>
                <a:srgbClr val="3543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264543"/>
      </p:ext>
    </p:extLst>
  </p:cSld>
  <p:clrMapOvr>
    <a:masterClrMapping/>
  </p:clrMapOvr>
  <p:transition>
    <p:randomBa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116">
            <a:extLst>
              <a:ext uri="{FF2B5EF4-FFF2-40B4-BE49-F238E27FC236}">
                <a16:creationId xmlns:a16="http://schemas.microsoft.com/office/drawing/2014/main" id="{DFDBE13F-2FB9-46B4-86A9-CEB9D1B4AF95}"/>
              </a:ext>
            </a:extLst>
          </p:cNvPr>
          <p:cNvSpPr/>
          <p:nvPr/>
        </p:nvSpPr>
        <p:spPr bwMode="gray">
          <a:xfrm>
            <a:off x="623392" y="1417540"/>
            <a:ext cx="10361721" cy="4320244"/>
          </a:xfrm>
          <a:prstGeom prst="rect">
            <a:avLst/>
          </a:prstGeom>
          <a:solidFill>
            <a:schemeClr val="bg2">
              <a:lumMod val="25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endParaRPr lang="de-DE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uppieren 70">
            <a:extLst>
              <a:ext uri="{FF2B5EF4-FFF2-40B4-BE49-F238E27FC236}">
                <a16:creationId xmlns:a16="http://schemas.microsoft.com/office/drawing/2014/main" id="{866F1A11-D215-4BB9-A7AA-EC5085E00820}"/>
              </a:ext>
            </a:extLst>
          </p:cNvPr>
          <p:cNvGrpSpPr/>
          <p:nvPr/>
        </p:nvGrpSpPr>
        <p:grpSpPr>
          <a:xfrm rot="10800000" flipV="1">
            <a:off x="2236702" y="2704832"/>
            <a:ext cx="4124971" cy="485988"/>
            <a:chOff x="6009948" y="1671145"/>
            <a:chExt cx="2460653" cy="741862"/>
          </a:xfrm>
        </p:grpSpPr>
        <p:cxnSp>
          <p:nvCxnSpPr>
            <p:cNvPr id="8" name="Gerader Verbinder 71">
              <a:extLst>
                <a:ext uri="{FF2B5EF4-FFF2-40B4-BE49-F238E27FC236}">
                  <a16:creationId xmlns:a16="http://schemas.microsoft.com/office/drawing/2014/main" id="{BBED32FF-C1F1-4868-A993-3BA352A9D540}"/>
                </a:ext>
              </a:extLst>
            </p:cNvPr>
            <p:cNvCxnSpPr/>
            <p:nvPr/>
          </p:nvCxnSpPr>
          <p:spPr>
            <a:xfrm rot="10800000" flipH="1">
              <a:off x="6009948" y="1671145"/>
              <a:ext cx="805463" cy="741862"/>
            </a:xfrm>
            <a:prstGeom prst="line">
              <a:avLst/>
            </a:prstGeom>
            <a:noFill/>
            <a:ln w="19050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  <p:cxnSp>
          <p:nvCxnSpPr>
            <p:cNvPr id="9" name="Gerader Verbinder 72">
              <a:extLst>
                <a:ext uri="{FF2B5EF4-FFF2-40B4-BE49-F238E27FC236}">
                  <a16:creationId xmlns:a16="http://schemas.microsoft.com/office/drawing/2014/main" id="{C19F76E1-DBAF-4C03-B49F-D8DA21835A27}"/>
                </a:ext>
              </a:extLst>
            </p:cNvPr>
            <p:cNvCxnSpPr/>
            <p:nvPr/>
          </p:nvCxnSpPr>
          <p:spPr>
            <a:xfrm rot="10800000" flipH="1">
              <a:off x="6810977" y="1673989"/>
              <a:ext cx="1659624" cy="0"/>
            </a:xfrm>
            <a:prstGeom prst="line">
              <a:avLst/>
            </a:prstGeom>
            <a:noFill/>
            <a:ln w="19050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</p:grpSp>
      <p:grpSp>
        <p:nvGrpSpPr>
          <p:cNvPr id="14" name="Gruppieren 70">
            <a:extLst>
              <a:ext uri="{FF2B5EF4-FFF2-40B4-BE49-F238E27FC236}">
                <a16:creationId xmlns:a16="http://schemas.microsoft.com/office/drawing/2014/main" id="{9E5766BB-2C46-4219-BAC3-97443DBFF1D3}"/>
              </a:ext>
            </a:extLst>
          </p:cNvPr>
          <p:cNvGrpSpPr/>
          <p:nvPr/>
        </p:nvGrpSpPr>
        <p:grpSpPr>
          <a:xfrm rot="10800000">
            <a:off x="2236702" y="3947333"/>
            <a:ext cx="4023369" cy="485988"/>
            <a:chOff x="6009948" y="1671145"/>
            <a:chExt cx="2460653" cy="741862"/>
          </a:xfrm>
        </p:grpSpPr>
        <p:cxnSp>
          <p:nvCxnSpPr>
            <p:cNvPr id="15" name="Gerader Verbinder 71">
              <a:extLst>
                <a:ext uri="{FF2B5EF4-FFF2-40B4-BE49-F238E27FC236}">
                  <a16:creationId xmlns:a16="http://schemas.microsoft.com/office/drawing/2014/main" id="{F3ACEE1A-8FC5-465A-8565-B67651680A8A}"/>
                </a:ext>
              </a:extLst>
            </p:cNvPr>
            <p:cNvCxnSpPr/>
            <p:nvPr/>
          </p:nvCxnSpPr>
          <p:spPr>
            <a:xfrm rot="10800000" flipH="1">
              <a:off x="6009948" y="1671145"/>
              <a:ext cx="805463" cy="741862"/>
            </a:xfrm>
            <a:prstGeom prst="line">
              <a:avLst/>
            </a:prstGeom>
            <a:noFill/>
            <a:ln w="19050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  <p:cxnSp>
          <p:nvCxnSpPr>
            <p:cNvPr id="16" name="Gerader Verbinder 72">
              <a:extLst>
                <a:ext uri="{FF2B5EF4-FFF2-40B4-BE49-F238E27FC236}">
                  <a16:creationId xmlns:a16="http://schemas.microsoft.com/office/drawing/2014/main" id="{5D127596-58FF-4623-9AD5-6D178A722CA1}"/>
                </a:ext>
              </a:extLst>
            </p:cNvPr>
            <p:cNvCxnSpPr/>
            <p:nvPr/>
          </p:nvCxnSpPr>
          <p:spPr>
            <a:xfrm rot="10800000" flipH="1">
              <a:off x="6810977" y="1673989"/>
              <a:ext cx="1659624" cy="0"/>
            </a:xfrm>
            <a:prstGeom prst="line">
              <a:avLst/>
            </a:prstGeom>
            <a:noFill/>
            <a:ln w="19050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</p:grp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0D71D457-0654-45DF-89E5-FBD9B21F01D8}"/>
              </a:ext>
            </a:extLst>
          </p:cNvPr>
          <p:cNvGrpSpPr/>
          <p:nvPr/>
        </p:nvGrpSpPr>
        <p:grpSpPr>
          <a:xfrm>
            <a:off x="5761657" y="3114237"/>
            <a:ext cx="2875485" cy="893125"/>
            <a:chOff x="503945" y="1914464"/>
            <a:chExt cx="2964750" cy="899669"/>
          </a:xfrm>
        </p:grpSpPr>
        <p:sp>
          <p:nvSpPr>
            <p:cNvPr id="18" name="Rettangolo con angoli arrotondati 17">
              <a:extLst>
                <a:ext uri="{FF2B5EF4-FFF2-40B4-BE49-F238E27FC236}">
                  <a16:creationId xmlns:a16="http://schemas.microsoft.com/office/drawing/2014/main" id="{560750EC-32F6-486D-BCC2-3523D957CFA3}"/>
                </a:ext>
              </a:extLst>
            </p:cNvPr>
            <p:cNvSpPr/>
            <p:nvPr/>
          </p:nvSpPr>
          <p:spPr>
            <a:xfrm>
              <a:off x="503945" y="1914464"/>
              <a:ext cx="2964750" cy="899669"/>
            </a:xfrm>
            <a:prstGeom prst="roundRect">
              <a:avLst/>
            </a:prstGeom>
            <a:ln>
              <a:solidFill>
                <a:srgbClr val="FF3399"/>
              </a:solidFill>
            </a:ln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499D9407-994F-41D9-9FC8-0B364FDB6C76}"/>
                </a:ext>
              </a:extLst>
            </p:cNvPr>
            <p:cNvSpPr txBox="1"/>
            <p:nvPr/>
          </p:nvSpPr>
          <p:spPr>
            <a:xfrm>
              <a:off x="547863" y="1958382"/>
              <a:ext cx="2876914" cy="811833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0" tIns="101600" rIns="101600" bIns="101600" numCol="1" spcCol="1270" anchor="ctr" anchorCtr="0">
              <a:noAutofit/>
            </a:bodyPr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48219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en-US" sz="2000" b="1" noProof="1">
                  <a:solidFill>
                    <a:srgbClr val="FF33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st Growth Brand*</a:t>
              </a:r>
            </a:p>
            <a:p>
              <a:pPr algn="ctr" defTabSz="948219">
                <a:lnSpc>
                  <a:spcPct val="9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it-IT" sz="1467" b="1" noProof="1">
                  <a:solidFill>
                    <a:srgbClr val="414549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MAGGIOR CRESCITA </a:t>
              </a:r>
              <a:endParaRPr lang="it-IT" sz="1467" b="1" dirty="0">
                <a:solidFill>
                  <a:srgbClr val="414549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Textfeld 43">
            <a:extLst>
              <a:ext uri="{FF2B5EF4-FFF2-40B4-BE49-F238E27FC236}">
                <a16:creationId xmlns:a16="http://schemas.microsoft.com/office/drawing/2014/main" id="{0440B9F2-2E0E-43CC-AC9D-44CB723B11AB}"/>
              </a:ext>
            </a:extLst>
          </p:cNvPr>
          <p:cNvSpPr txBox="1"/>
          <p:nvPr/>
        </p:nvSpPr>
        <p:spPr bwMode="gray">
          <a:xfrm>
            <a:off x="2308262" y="2337419"/>
            <a:ext cx="2654273" cy="9438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OTIONAL CONNECTION</a:t>
            </a:r>
          </a:p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600" i="1" dirty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ita di Brand </a:t>
            </a:r>
            <a:r>
              <a:rPr lang="it-IT" sz="1600" i="1" dirty="0" err="1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</a:t>
            </a:r>
            <a:endParaRPr lang="it-IT" sz="1600" i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43">
            <a:extLst>
              <a:ext uri="{FF2B5EF4-FFF2-40B4-BE49-F238E27FC236}">
                <a16:creationId xmlns:a16="http://schemas.microsoft.com/office/drawing/2014/main" id="{281B2468-BCA6-415E-8A73-86E9269EDE37}"/>
              </a:ext>
            </a:extLst>
          </p:cNvPr>
          <p:cNvSpPr txBox="1"/>
          <p:nvPr/>
        </p:nvSpPr>
        <p:spPr bwMode="gray">
          <a:xfrm>
            <a:off x="2398286" y="4080423"/>
            <a:ext cx="2316559" cy="9438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HARE</a:t>
            </a:r>
          </a:p>
          <a:p>
            <a:pPr algn="r" defTabSz="1051872">
              <a:spcBef>
                <a:spcPts val="800"/>
              </a:spcBef>
              <a:spcAft>
                <a:spcPts val="800"/>
              </a:spcAft>
            </a:pPr>
            <a:r>
              <a:rPr lang="it-IT" sz="1600" i="1" dirty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ita di quota di mercato a valore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6546F76C-9536-4180-91CE-DDDAA76EFC8B}"/>
              </a:ext>
            </a:extLst>
          </p:cNvPr>
          <p:cNvSpPr txBox="1"/>
          <p:nvPr/>
        </p:nvSpPr>
        <p:spPr>
          <a:xfrm>
            <a:off x="5852893" y="4104491"/>
            <a:ext cx="2693017" cy="23064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51872">
              <a:lnSpc>
                <a:spcPct val="120000"/>
              </a:lnSpc>
              <a:spcAft>
                <a:spcPts val="800"/>
              </a:spcAft>
            </a:pPr>
            <a:r>
              <a:rPr lang="it-IT" sz="1067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Media delle variazioni sulle due dimensioni, normalizzate includendo i brand con almeno una variazioni positiva su una delle dimensioni  </a:t>
            </a:r>
          </a:p>
        </p:txBody>
      </p:sp>
      <p:sp>
        <p:nvSpPr>
          <p:cNvPr id="20" name="Elemento grafico 65" descr="Cuore">
            <a:extLst>
              <a:ext uri="{FF2B5EF4-FFF2-40B4-BE49-F238E27FC236}">
                <a16:creationId xmlns:a16="http://schemas.microsoft.com/office/drawing/2014/main" id="{51D57FA3-A654-41A7-941C-FD3D2B1DEC07}"/>
              </a:ext>
            </a:extLst>
          </p:cNvPr>
          <p:cNvSpPr/>
          <p:nvPr/>
        </p:nvSpPr>
        <p:spPr>
          <a:xfrm>
            <a:off x="1129838" y="2313535"/>
            <a:ext cx="647957" cy="628395"/>
          </a:xfrm>
          <a:custGeom>
            <a:avLst/>
            <a:gdLst>
              <a:gd name="connsiteX0" fmla="*/ 242984 w 485968"/>
              <a:gd name="connsiteY0" fmla="*/ 98239 h 471296"/>
              <a:gd name="connsiteX1" fmla="*/ 0 w 485968"/>
              <a:gd name="connsiteY1" fmla="*/ 127499 h 471296"/>
              <a:gd name="connsiteX2" fmla="*/ 242984 w 485968"/>
              <a:gd name="connsiteY2" fmla="*/ 471296 h 471296"/>
              <a:gd name="connsiteX3" fmla="*/ 485968 w 485968"/>
              <a:gd name="connsiteY3" fmla="*/ 127499 h 471296"/>
              <a:gd name="connsiteX4" fmla="*/ 242984 w 485968"/>
              <a:gd name="connsiteY4" fmla="*/ 98239 h 471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5968" h="471296">
                <a:moveTo>
                  <a:pt x="242984" y="98239"/>
                </a:moveTo>
                <a:cubicBezTo>
                  <a:pt x="152937" y="-84632"/>
                  <a:pt x="0" y="25091"/>
                  <a:pt x="0" y="127499"/>
                </a:cubicBezTo>
                <a:cubicBezTo>
                  <a:pt x="0" y="281110"/>
                  <a:pt x="242984" y="471296"/>
                  <a:pt x="242984" y="471296"/>
                </a:cubicBezTo>
                <a:cubicBezTo>
                  <a:pt x="242984" y="471296"/>
                  <a:pt x="485968" y="281110"/>
                  <a:pt x="485968" y="127499"/>
                </a:cubicBezTo>
                <a:cubicBezTo>
                  <a:pt x="485968" y="25091"/>
                  <a:pt x="333031" y="-84632"/>
                  <a:pt x="242984" y="98239"/>
                </a:cubicBezTo>
                <a:close/>
              </a:path>
            </a:pathLst>
          </a:custGeom>
          <a:solidFill>
            <a:srgbClr val="FF3399"/>
          </a:solidFill>
          <a:ln w="7144" cap="flat">
            <a:solidFill>
              <a:srgbClr val="FF3399"/>
            </a:solidFill>
            <a:prstDash val="solid"/>
            <a:miter/>
          </a:ln>
        </p:spPr>
        <p:txBody>
          <a:bodyPr rtlCol="0" anchor="ctr"/>
          <a:lstStyle/>
          <a:p>
            <a:pPr defTabSz="1051872"/>
            <a:endParaRPr lang="it-IT" sz="2844">
              <a:solidFill>
                <a:srgbClr val="464646"/>
              </a:solidFill>
              <a:latin typeface="Arial"/>
            </a:endParaRPr>
          </a:p>
        </p:txBody>
      </p:sp>
      <p:grpSp>
        <p:nvGrpSpPr>
          <p:cNvPr id="28" name="Elemento grafico 66" descr="Testa con ingranaggi">
            <a:extLst>
              <a:ext uri="{FF2B5EF4-FFF2-40B4-BE49-F238E27FC236}">
                <a16:creationId xmlns:a16="http://schemas.microsoft.com/office/drawing/2014/main" id="{77AD46F1-56EC-46D2-BA92-1EC3E0E9A3FD}"/>
              </a:ext>
            </a:extLst>
          </p:cNvPr>
          <p:cNvGrpSpPr/>
          <p:nvPr/>
        </p:nvGrpSpPr>
        <p:grpSpPr>
          <a:xfrm>
            <a:off x="996437" y="4047505"/>
            <a:ext cx="844964" cy="864857"/>
            <a:chOff x="1015066" y="3159143"/>
            <a:chExt cx="633723" cy="648643"/>
          </a:xfrm>
          <a:solidFill>
            <a:srgbClr val="FF3399"/>
          </a:solidFill>
        </p:grpSpPr>
        <p:sp>
          <p:nvSpPr>
            <p:cNvPr id="29" name="Figura a mano libera: forma 28">
              <a:extLst>
                <a:ext uri="{FF2B5EF4-FFF2-40B4-BE49-F238E27FC236}">
                  <a16:creationId xmlns:a16="http://schemas.microsoft.com/office/drawing/2014/main" id="{6A2FCD0C-7C0E-487D-B7E2-C3726DDF44BE}"/>
                </a:ext>
              </a:extLst>
            </p:cNvPr>
            <p:cNvSpPr/>
            <p:nvPr/>
          </p:nvSpPr>
          <p:spPr>
            <a:xfrm>
              <a:off x="1298260" y="3292249"/>
              <a:ext cx="55450" cy="56756"/>
            </a:xfrm>
            <a:custGeom>
              <a:avLst/>
              <a:gdLst>
                <a:gd name="connsiteX0" fmla="*/ 27725 w 55450"/>
                <a:gd name="connsiteY0" fmla="*/ 0 h 56756"/>
                <a:gd name="connsiteX1" fmla="*/ 0 w 55450"/>
                <a:gd name="connsiteY1" fmla="*/ 28378 h 56756"/>
                <a:gd name="connsiteX2" fmla="*/ 27725 w 55450"/>
                <a:gd name="connsiteY2" fmla="*/ 56756 h 56756"/>
                <a:gd name="connsiteX3" fmla="*/ 55451 w 55450"/>
                <a:gd name="connsiteY3" fmla="*/ 28378 h 56756"/>
                <a:gd name="connsiteX4" fmla="*/ 27725 w 55450"/>
                <a:gd name="connsiteY4" fmla="*/ 0 h 5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50" h="56756">
                  <a:moveTo>
                    <a:pt x="27725" y="0"/>
                  </a:moveTo>
                  <a:cubicBezTo>
                    <a:pt x="12542" y="0"/>
                    <a:pt x="0" y="12838"/>
                    <a:pt x="0" y="28378"/>
                  </a:cubicBezTo>
                  <a:cubicBezTo>
                    <a:pt x="0" y="43919"/>
                    <a:pt x="12542" y="56756"/>
                    <a:pt x="27725" y="56756"/>
                  </a:cubicBezTo>
                  <a:cubicBezTo>
                    <a:pt x="42908" y="56756"/>
                    <a:pt x="55451" y="43919"/>
                    <a:pt x="55451" y="28378"/>
                  </a:cubicBezTo>
                  <a:cubicBezTo>
                    <a:pt x="55451" y="12838"/>
                    <a:pt x="42908" y="0"/>
                    <a:pt x="27725" y="0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>
                <a:solidFill>
                  <a:srgbClr val="464646"/>
                </a:solidFill>
                <a:latin typeface="Arial"/>
              </a:endParaRPr>
            </a:p>
          </p:txBody>
        </p:sp>
        <p:sp>
          <p:nvSpPr>
            <p:cNvPr id="30" name="Figura a mano libera: forma 29">
              <a:extLst>
                <a:ext uri="{FF2B5EF4-FFF2-40B4-BE49-F238E27FC236}">
                  <a16:creationId xmlns:a16="http://schemas.microsoft.com/office/drawing/2014/main" id="{D8C0EB91-BCFB-4094-8E0A-5DFEC29A4BAC}"/>
                </a:ext>
              </a:extLst>
            </p:cNvPr>
            <p:cNvSpPr/>
            <p:nvPr/>
          </p:nvSpPr>
          <p:spPr>
            <a:xfrm>
              <a:off x="1215084" y="3429410"/>
              <a:ext cx="55450" cy="56756"/>
            </a:xfrm>
            <a:custGeom>
              <a:avLst/>
              <a:gdLst>
                <a:gd name="connsiteX0" fmla="*/ 55451 w 55450"/>
                <a:gd name="connsiteY0" fmla="*/ 28378 h 56756"/>
                <a:gd name="connsiteX1" fmla="*/ 27725 w 55450"/>
                <a:gd name="connsiteY1" fmla="*/ 56756 h 56756"/>
                <a:gd name="connsiteX2" fmla="*/ 0 w 55450"/>
                <a:gd name="connsiteY2" fmla="*/ 28378 h 56756"/>
                <a:gd name="connsiteX3" fmla="*/ 27725 w 55450"/>
                <a:gd name="connsiteY3" fmla="*/ 0 h 56756"/>
                <a:gd name="connsiteX4" fmla="*/ 55451 w 55450"/>
                <a:gd name="connsiteY4" fmla="*/ 28378 h 5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450" h="56756">
                  <a:moveTo>
                    <a:pt x="55451" y="28378"/>
                  </a:moveTo>
                  <a:cubicBezTo>
                    <a:pt x="55451" y="44051"/>
                    <a:pt x="43038" y="56756"/>
                    <a:pt x="27725" y="56756"/>
                  </a:cubicBezTo>
                  <a:cubicBezTo>
                    <a:pt x="12413" y="56756"/>
                    <a:pt x="0" y="44051"/>
                    <a:pt x="0" y="28378"/>
                  </a:cubicBezTo>
                  <a:cubicBezTo>
                    <a:pt x="0" y="12705"/>
                    <a:pt x="12413" y="0"/>
                    <a:pt x="27725" y="0"/>
                  </a:cubicBezTo>
                  <a:cubicBezTo>
                    <a:pt x="43038" y="0"/>
                    <a:pt x="55451" y="12705"/>
                    <a:pt x="55451" y="28378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>
                <a:solidFill>
                  <a:srgbClr val="464646"/>
                </a:solidFill>
                <a:latin typeface="Arial"/>
              </a:endParaRPr>
            </a:p>
          </p:txBody>
        </p:sp>
        <p:sp>
          <p:nvSpPr>
            <p:cNvPr id="31" name="Figura a mano libera: forma 30">
              <a:extLst>
                <a:ext uri="{FF2B5EF4-FFF2-40B4-BE49-F238E27FC236}">
                  <a16:creationId xmlns:a16="http://schemas.microsoft.com/office/drawing/2014/main" id="{92B000AB-034F-4308-A2F9-8161E7A1D3FA}"/>
                </a:ext>
              </a:extLst>
            </p:cNvPr>
            <p:cNvSpPr/>
            <p:nvPr/>
          </p:nvSpPr>
          <p:spPr>
            <a:xfrm>
              <a:off x="1107351" y="3196980"/>
              <a:ext cx="449085" cy="545265"/>
            </a:xfrm>
            <a:custGeom>
              <a:avLst/>
              <a:gdLst>
                <a:gd name="connsiteX0" fmla="*/ 297190 w 449085"/>
                <a:gd name="connsiteY0" fmla="*/ 133107 h 545265"/>
                <a:gd name="connsiteX1" fmla="*/ 280687 w 449085"/>
                <a:gd name="connsiteY1" fmla="*/ 141215 h 545265"/>
                <a:gd name="connsiteX2" fmla="*/ 274086 w 449085"/>
                <a:gd name="connsiteY2" fmla="*/ 156080 h 545265"/>
                <a:gd name="connsiteX3" fmla="*/ 280027 w 449085"/>
                <a:gd name="connsiteY3" fmla="*/ 173647 h 545265"/>
                <a:gd name="connsiteX4" fmla="*/ 266824 w 449085"/>
                <a:gd name="connsiteY4" fmla="*/ 187161 h 545265"/>
                <a:gd name="connsiteX5" fmla="*/ 249661 w 449085"/>
                <a:gd name="connsiteY5" fmla="*/ 181080 h 545265"/>
                <a:gd name="connsiteX6" fmla="*/ 235138 w 449085"/>
                <a:gd name="connsiteY6" fmla="*/ 187161 h 545265"/>
                <a:gd name="connsiteX7" fmla="*/ 227217 w 449085"/>
                <a:gd name="connsiteY7" fmla="*/ 203377 h 545265"/>
                <a:gd name="connsiteX8" fmla="*/ 208733 w 449085"/>
                <a:gd name="connsiteY8" fmla="*/ 203377 h 545265"/>
                <a:gd name="connsiteX9" fmla="*/ 200812 w 449085"/>
                <a:gd name="connsiteY9" fmla="*/ 186485 h 545265"/>
                <a:gd name="connsiteX10" fmla="*/ 186289 w 449085"/>
                <a:gd name="connsiteY10" fmla="*/ 180404 h 545265"/>
                <a:gd name="connsiteX11" fmla="*/ 169125 w 449085"/>
                <a:gd name="connsiteY11" fmla="*/ 186485 h 545265"/>
                <a:gd name="connsiteX12" fmla="*/ 155923 w 449085"/>
                <a:gd name="connsiteY12" fmla="*/ 172971 h 545265"/>
                <a:gd name="connsiteX13" fmla="*/ 161864 w 449085"/>
                <a:gd name="connsiteY13" fmla="*/ 155404 h 545265"/>
                <a:gd name="connsiteX14" fmla="*/ 155923 w 449085"/>
                <a:gd name="connsiteY14" fmla="*/ 140539 h 545265"/>
                <a:gd name="connsiteX15" fmla="*/ 139420 w 449085"/>
                <a:gd name="connsiteY15" fmla="*/ 132431 h 545265"/>
                <a:gd name="connsiteX16" fmla="*/ 139420 w 449085"/>
                <a:gd name="connsiteY16" fmla="*/ 113513 h 545265"/>
                <a:gd name="connsiteX17" fmla="*/ 155923 w 449085"/>
                <a:gd name="connsiteY17" fmla="*/ 105404 h 545265"/>
                <a:gd name="connsiteX18" fmla="*/ 161864 w 449085"/>
                <a:gd name="connsiteY18" fmla="*/ 90540 h 545265"/>
                <a:gd name="connsiteX19" fmla="*/ 156583 w 449085"/>
                <a:gd name="connsiteY19" fmla="*/ 72972 h 545265"/>
                <a:gd name="connsiteX20" fmla="*/ 169785 w 449085"/>
                <a:gd name="connsiteY20" fmla="*/ 59459 h 545265"/>
                <a:gd name="connsiteX21" fmla="*/ 186949 w 449085"/>
                <a:gd name="connsiteY21" fmla="*/ 65540 h 545265"/>
                <a:gd name="connsiteX22" fmla="*/ 201472 w 449085"/>
                <a:gd name="connsiteY22" fmla="*/ 59459 h 545265"/>
                <a:gd name="connsiteX23" fmla="*/ 209393 w 449085"/>
                <a:gd name="connsiteY23" fmla="*/ 42567 h 545265"/>
                <a:gd name="connsiteX24" fmla="*/ 227877 w 449085"/>
                <a:gd name="connsiteY24" fmla="*/ 42567 h 545265"/>
                <a:gd name="connsiteX25" fmla="*/ 235798 w 449085"/>
                <a:gd name="connsiteY25" fmla="*/ 58783 h 545265"/>
                <a:gd name="connsiteX26" fmla="*/ 250321 w 449085"/>
                <a:gd name="connsiteY26" fmla="*/ 64864 h 545265"/>
                <a:gd name="connsiteX27" fmla="*/ 267484 w 449085"/>
                <a:gd name="connsiteY27" fmla="*/ 58783 h 545265"/>
                <a:gd name="connsiteX28" fmla="*/ 280687 w 449085"/>
                <a:gd name="connsiteY28" fmla="*/ 72297 h 545265"/>
                <a:gd name="connsiteX29" fmla="*/ 274746 w 449085"/>
                <a:gd name="connsiteY29" fmla="*/ 89864 h 545265"/>
                <a:gd name="connsiteX30" fmla="*/ 280687 w 449085"/>
                <a:gd name="connsiteY30" fmla="*/ 104729 h 545265"/>
                <a:gd name="connsiteX31" fmla="*/ 297190 w 449085"/>
                <a:gd name="connsiteY31" fmla="*/ 112837 h 545265"/>
                <a:gd name="connsiteX32" fmla="*/ 297190 w 449085"/>
                <a:gd name="connsiteY32" fmla="*/ 133107 h 545265"/>
                <a:gd name="connsiteX33" fmla="*/ 214014 w 449085"/>
                <a:gd name="connsiteY33" fmla="*/ 270268 h 545265"/>
                <a:gd name="connsiteX34" fmla="*/ 197511 w 449085"/>
                <a:gd name="connsiteY34" fmla="*/ 278376 h 545265"/>
                <a:gd name="connsiteX35" fmla="*/ 191570 w 449085"/>
                <a:gd name="connsiteY35" fmla="*/ 293241 h 545265"/>
                <a:gd name="connsiteX36" fmla="*/ 196851 w 449085"/>
                <a:gd name="connsiteY36" fmla="*/ 310808 h 545265"/>
                <a:gd name="connsiteX37" fmla="*/ 183648 w 449085"/>
                <a:gd name="connsiteY37" fmla="*/ 324322 h 545265"/>
                <a:gd name="connsiteX38" fmla="*/ 166485 w 449085"/>
                <a:gd name="connsiteY38" fmla="*/ 318240 h 545265"/>
                <a:gd name="connsiteX39" fmla="*/ 151962 w 449085"/>
                <a:gd name="connsiteY39" fmla="*/ 324322 h 545265"/>
                <a:gd name="connsiteX40" fmla="*/ 144701 w 449085"/>
                <a:gd name="connsiteY40" fmla="*/ 340538 h 545265"/>
                <a:gd name="connsiteX41" fmla="*/ 126217 w 449085"/>
                <a:gd name="connsiteY41" fmla="*/ 340538 h 545265"/>
                <a:gd name="connsiteX42" fmla="*/ 118295 w 449085"/>
                <a:gd name="connsiteY42" fmla="*/ 323646 h 545265"/>
                <a:gd name="connsiteX43" fmla="*/ 103773 w 449085"/>
                <a:gd name="connsiteY43" fmla="*/ 317565 h 545265"/>
                <a:gd name="connsiteX44" fmla="*/ 86609 w 449085"/>
                <a:gd name="connsiteY44" fmla="*/ 322970 h 545265"/>
                <a:gd name="connsiteX45" fmla="*/ 73407 w 449085"/>
                <a:gd name="connsiteY45" fmla="*/ 309457 h 545265"/>
                <a:gd name="connsiteX46" fmla="*/ 79348 w 449085"/>
                <a:gd name="connsiteY46" fmla="*/ 291889 h 545265"/>
                <a:gd name="connsiteX47" fmla="*/ 73407 w 449085"/>
                <a:gd name="connsiteY47" fmla="*/ 277025 h 545265"/>
                <a:gd name="connsiteX48" fmla="*/ 56904 w 449085"/>
                <a:gd name="connsiteY48" fmla="*/ 268917 h 545265"/>
                <a:gd name="connsiteX49" fmla="*/ 56904 w 449085"/>
                <a:gd name="connsiteY49" fmla="*/ 249998 h 545265"/>
                <a:gd name="connsiteX50" fmla="*/ 73407 w 449085"/>
                <a:gd name="connsiteY50" fmla="*/ 241890 h 545265"/>
                <a:gd name="connsiteX51" fmla="*/ 79348 w 449085"/>
                <a:gd name="connsiteY51" fmla="*/ 227025 h 545265"/>
                <a:gd name="connsiteX52" fmla="*/ 73407 w 449085"/>
                <a:gd name="connsiteY52" fmla="*/ 209458 h 545265"/>
                <a:gd name="connsiteX53" fmla="*/ 86609 w 449085"/>
                <a:gd name="connsiteY53" fmla="*/ 195944 h 545265"/>
                <a:gd name="connsiteX54" fmla="*/ 103773 w 449085"/>
                <a:gd name="connsiteY54" fmla="*/ 202025 h 545265"/>
                <a:gd name="connsiteX55" fmla="*/ 118295 w 449085"/>
                <a:gd name="connsiteY55" fmla="*/ 195944 h 545265"/>
                <a:gd name="connsiteX56" fmla="*/ 126217 w 449085"/>
                <a:gd name="connsiteY56" fmla="*/ 179052 h 545265"/>
                <a:gd name="connsiteX57" fmla="*/ 145361 w 449085"/>
                <a:gd name="connsiteY57" fmla="*/ 179052 h 545265"/>
                <a:gd name="connsiteX58" fmla="*/ 153282 w 449085"/>
                <a:gd name="connsiteY58" fmla="*/ 195944 h 545265"/>
                <a:gd name="connsiteX59" fmla="*/ 167805 w 449085"/>
                <a:gd name="connsiteY59" fmla="*/ 202025 h 545265"/>
                <a:gd name="connsiteX60" fmla="*/ 184968 w 449085"/>
                <a:gd name="connsiteY60" fmla="*/ 195944 h 545265"/>
                <a:gd name="connsiteX61" fmla="*/ 198171 w 449085"/>
                <a:gd name="connsiteY61" fmla="*/ 209458 h 545265"/>
                <a:gd name="connsiteX62" fmla="*/ 192230 w 449085"/>
                <a:gd name="connsiteY62" fmla="*/ 227025 h 545265"/>
                <a:gd name="connsiteX63" fmla="*/ 198171 w 449085"/>
                <a:gd name="connsiteY63" fmla="*/ 241890 h 545265"/>
                <a:gd name="connsiteX64" fmla="*/ 214674 w 449085"/>
                <a:gd name="connsiteY64" fmla="*/ 249998 h 545265"/>
                <a:gd name="connsiteX65" fmla="*/ 214014 w 449085"/>
                <a:gd name="connsiteY65" fmla="*/ 270268 h 545265"/>
                <a:gd name="connsiteX66" fmla="*/ 214014 w 449085"/>
                <a:gd name="connsiteY66" fmla="*/ 270268 h 545265"/>
                <a:gd name="connsiteX67" fmla="*/ 442418 w 449085"/>
                <a:gd name="connsiteY67" fmla="*/ 295268 h 545265"/>
                <a:gd name="connsiteX68" fmla="*/ 396870 w 449085"/>
                <a:gd name="connsiteY68" fmla="*/ 214187 h 545265"/>
                <a:gd name="connsiteX69" fmla="*/ 396870 w 449085"/>
                <a:gd name="connsiteY69" fmla="*/ 210809 h 545265"/>
                <a:gd name="connsiteX70" fmla="*/ 299831 w 449085"/>
                <a:gd name="connsiteY70" fmla="*/ 28378 h 545265"/>
                <a:gd name="connsiteX71" fmla="*/ 97171 w 449085"/>
                <a:gd name="connsiteY71" fmla="*/ 28378 h 545265"/>
                <a:gd name="connsiteX72" fmla="*/ 133 w 449085"/>
                <a:gd name="connsiteY72" fmla="*/ 210809 h 545265"/>
                <a:gd name="connsiteX73" fmla="*/ 78028 w 449085"/>
                <a:gd name="connsiteY73" fmla="*/ 374321 h 545265"/>
                <a:gd name="connsiteX74" fmla="*/ 78028 w 449085"/>
                <a:gd name="connsiteY74" fmla="*/ 545266 h 545265"/>
                <a:gd name="connsiteX75" fmla="*/ 286628 w 449085"/>
                <a:gd name="connsiteY75" fmla="*/ 545266 h 545265"/>
                <a:gd name="connsiteX76" fmla="*/ 286628 w 449085"/>
                <a:gd name="connsiteY76" fmla="*/ 464185 h 545265"/>
                <a:gd name="connsiteX77" fmla="*/ 318974 w 449085"/>
                <a:gd name="connsiteY77" fmla="*/ 464185 h 545265"/>
                <a:gd name="connsiteX78" fmla="*/ 374425 w 449085"/>
                <a:gd name="connsiteY78" fmla="*/ 440537 h 545265"/>
                <a:gd name="connsiteX79" fmla="*/ 396870 w 449085"/>
                <a:gd name="connsiteY79" fmla="*/ 383105 h 545265"/>
                <a:gd name="connsiteX80" fmla="*/ 396870 w 449085"/>
                <a:gd name="connsiteY80" fmla="*/ 342565 h 545265"/>
                <a:gd name="connsiteX81" fmla="*/ 425915 w 449085"/>
                <a:gd name="connsiteY81" fmla="*/ 342565 h 545265"/>
                <a:gd name="connsiteX82" fmla="*/ 442418 w 449085"/>
                <a:gd name="connsiteY82" fmla="*/ 295268 h 545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49085" h="545265">
                  <a:moveTo>
                    <a:pt x="297190" y="133107"/>
                  </a:moveTo>
                  <a:lnTo>
                    <a:pt x="280687" y="141215"/>
                  </a:lnTo>
                  <a:cubicBezTo>
                    <a:pt x="279367" y="146620"/>
                    <a:pt x="276726" y="151350"/>
                    <a:pt x="274086" y="156080"/>
                  </a:cubicBezTo>
                  <a:lnTo>
                    <a:pt x="280027" y="173647"/>
                  </a:lnTo>
                  <a:lnTo>
                    <a:pt x="266824" y="187161"/>
                  </a:lnTo>
                  <a:lnTo>
                    <a:pt x="249661" y="181080"/>
                  </a:lnTo>
                  <a:cubicBezTo>
                    <a:pt x="245040" y="183782"/>
                    <a:pt x="240419" y="185809"/>
                    <a:pt x="235138" y="187161"/>
                  </a:cubicBezTo>
                  <a:lnTo>
                    <a:pt x="227217" y="203377"/>
                  </a:lnTo>
                  <a:lnTo>
                    <a:pt x="208733" y="203377"/>
                  </a:lnTo>
                  <a:lnTo>
                    <a:pt x="200812" y="186485"/>
                  </a:lnTo>
                  <a:cubicBezTo>
                    <a:pt x="195530" y="185134"/>
                    <a:pt x="190910" y="183107"/>
                    <a:pt x="186289" y="180404"/>
                  </a:cubicBezTo>
                  <a:lnTo>
                    <a:pt x="169125" y="186485"/>
                  </a:lnTo>
                  <a:lnTo>
                    <a:pt x="155923" y="172971"/>
                  </a:lnTo>
                  <a:lnTo>
                    <a:pt x="161864" y="155404"/>
                  </a:lnTo>
                  <a:cubicBezTo>
                    <a:pt x="159223" y="150674"/>
                    <a:pt x="157243" y="145945"/>
                    <a:pt x="155923" y="140539"/>
                  </a:cubicBezTo>
                  <a:lnTo>
                    <a:pt x="139420" y="132431"/>
                  </a:lnTo>
                  <a:lnTo>
                    <a:pt x="139420" y="113513"/>
                  </a:lnTo>
                  <a:lnTo>
                    <a:pt x="155923" y="105404"/>
                  </a:lnTo>
                  <a:cubicBezTo>
                    <a:pt x="157243" y="99999"/>
                    <a:pt x="159223" y="95269"/>
                    <a:pt x="161864" y="90540"/>
                  </a:cubicBezTo>
                  <a:lnTo>
                    <a:pt x="156583" y="72972"/>
                  </a:lnTo>
                  <a:lnTo>
                    <a:pt x="169785" y="59459"/>
                  </a:lnTo>
                  <a:lnTo>
                    <a:pt x="186949" y="65540"/>
                  </a:lnTo>
                  <a:cubicBezTo>
                    <a:pt x="191570" y="62837"/>
                    <a:pt x="196191" y="60810"/>
                    <a:pt x="201472" y="59459"/>
                  </a:cubicBezTo>
                  <a:lnTo>
                    <a:pt x="209393" y="42567"/>
                  </a:lnTo>
                  <a:lnTo>
                    <a:pt x="227877" y="42567"/>
                  </a:lnTo>
                  <a:lnTo>
                    <a:pt x="235798" y="58783"/>
                  </a:lnTo>
                  <a:cubicBezTo>
                    <a:pt x="241079" y="60135"/>
                    <a:pt x="245700" y="62162"/>
                    <a:pt x="250321" y="64864"/>
                  </a:cubicBezTo>
                  <a:lnTo>
                    <a:pt x="267484" y="58783"/>
                  </a:lnTo>
                  <a:lnTo>
                    <a:pt x="280687" y="72297"/>
                  </a:lnTo>
                  <a:lnTo>
                    <a:pt x="274746" y="89864"/>
                  </a:lnTo>
                  <a:cubicBezTo>
                    <a:pt x="277386" y="94594"/>
                    <a:pt x="279367" y="99323"/>
                    <a:pt x="280687" y="104729"/>
                  </a:cubicBezTo>
                  <a:lnTo>
                    <a:pt x="297190" y="112837"/>
                  </a:lnTo>
                  <a:lnTo>
                    <a:pt x="297190" y="133107"/>
                  </a:lnTo>
                  <a:close/>
                  <a:moveTo>
                    <a:pt x="214014" y="270268"/>
                  </a:moveTo>
                  <a:lnTo>
                    <a:pt x="197511" y="278376"/>
                  </a:lnTo>
                  <a:cubicBezTo>
                    <a:pt x="196191" y="283781"/>
                    <a:pt x="194210" y="288511"/>
                    <a:pt x="191570" y="293241"/>
                  </a:cubicBezTo>
                  <a:lnTo>
                    <a:pt x="196851" y="310808"/>
                  </a:lnTo>
                  <a:lnTo>
                    <a:pt x="183648" y="324322"/>
                  </a:lnTo>
                  <a:lnTo>
                    <a:pt x="166485" y="318240"/>
                  </a:lnTo>
                  <a:cubicBezTo>
                    <a:pt x="161864" y="320943"/>
                    <a:pt x="157243" y="322970"/>
                    <a:pt x="151962" y="324322"/>
                  </a:cubicBezTo>
                  <a:lnTo>
                    <a:pt x="144701" y="340538"/>
                  </a:lnTo>
                  <a:lnTo>
                    <a:pt x="126217" y="340538"/>
                  </a:lnTo>
                  <a:lnTo>
                    <a:pt x="118295" y="323646"/>
                  </a:lnTo>
                  <a:cubicBezTo>
                    <a:pt x="113014" y="322295"/>
                    <a:pt x="108394" y="320267"/>
                    <a:pt x="103773" y="317565"/>
                  </a:cubicBezTo>
                  <a:lnTo>
                    <a:pt x="86609" y="322970"/>
                  </a:lnTo>
                  <a:lnTo>
                    <a:pt x="73407" y="309457"/>
                  </a:lnTo>
                  <a:lnTo>
                    <a:pt x="79348" y="291889"/>
                  </a:lnTo>
                  <a:cubicBezTo>
                    <a:pt x="76707" y="287160"/>
                    <a:pt x="74727" y="282430"/>
                    <a:pt x="73407" y="277025"/>
                  </a:cubicBezTo>
                  <a:lnTo>
                    <a:pt x="56904" y="268917"/>
                  </a:lnTo>
                  <a:lnTo>
                    <a:pt x="56904" y="249998"/>
                  </a:lnTo>
                  <a:lnTo>
                    <a:pt x="73407" y="241890"/>
                  </a:lnTo>
                  <a:cubicBezTo>
                    <a:pt x="74727" y="236484"/>
                    <a:pt x="76707" y="231755"/>
                    <a:pt x="79348" y="227025"/>
                  </a:cubicBezTo>
                  <a:lnTo>
                    <a:pt x="73407" y="209458"/>
                  </a:lnTo>
                  <a:lnTo>
                    <a:pt x="86609" y="195944"/>
                  </a:lnTo>
                  <a:lnTo>
                    <a:pt x="103773" y="202025"/>
                  </a:lnTo>
                  <a:cubicBezTo>
                    <a:pt x="108394" y="199323"/>
                    <a:pt x="113014" y="197296"/>
                    <a:pt x="118295" y="195944"/>
                  </a:cubicBezTo>
                  <a:lnTo>
                    <a:pt x="126217" y="179052"/>
                  </a:lnTo>
                  <a:lnTo>
                    <a:pt x="145361" y="179052"/>
                  </a:lnTo>
                  <a:lnTo>
                    <a:pt x="153282" y="195944"/>
                  </a:lnTo>
                  <a:cubicBezTo>
                    <a:pt x="158563" y="197296"/>
                    <a:pt x="163184" y="199323"/>
                    <a:pt x="167805" y="202025"/>
                  </a:cubicBezTo>
                  <a:lnTo>
                    <a:pt x="184968" y="195944"/>
                  </a:lnTo>
                  <a:lnTo>
                    <a:pt x="198171" y="209458"/>
                  </a:lnTo>
                  <a:lnTo>
                    <a:pt x="192230" y="227025"/>
                  </a:lnTo>
                  <a:cubicBezTo>
                    <a:pt x="194870" y="231755"/>
                    <a:pt x="196851" y="236484"/>
                    <a:pt x="198171" y="241890"/>
                  </a:cubicBezTo>
                  <a:lnTo>
                    <a:pt x="214674" y="249998"/>
                  </a:lnTo>
                  <a:lnTo>
                    <a:pt x="214014" y="270268"/>
                  </a:lnTo>
                  <a:lnTo>
                    <a:pt x="214014" y="270268"/>
                  </a:lnTo>
                  <a:close/>
                  <a:moveTo>
                    <a:pt x="442418" y="295268"/>
                  </a:moveTo>
                  <a:lnTo>
                    <a:pt x="396870" y="214187"/>
                  </a:lnTo>
                  <a:lnTo>
                    <a:pt x="396870" y="210809"/>
                  </a:lnTo>
                  <a:cubicBezTo>
                    <a:pt x="399510" y="136485"/>
                    <a:pt x="362543" y="66891"/>
                    <a:pt x="299831" y="28378"/>
                  </a:cubicBezTo>
                  <a:cubicBezTo>
                    <a:pt x="237119" y="-9459"/>
                    <a:pt x="159884" y="-9459"/>
                    <a:pt x="97171" y="28378"/>
                  </a:cubicBezTo>
                  <a:cubicBezTo>
                    <a:pt x="34459" y="66216"/>
                    <a:pt x="-2508" y="136485"/>
                    <a:pt x="133" y="210809"/>
                  </a:cubicBezTo>
                  <a:cubicBezTo>
                    <a:pt x="133" y="274998"/>
                    <a:pt x="28518" y="335132"/>
                    <a:pt x="78028" y="374321"/>
                  </a:cubicBezTo>
                  <a:lnTo>
                    <a:pt x="78028" y="545266"/>
                  </a:lnTo>
                  <a:lnTo>
                    <a:pt x="286628" y="545266"/>
                  </a:lnTo>
                  <a:lnTo>
                    <a:pt x="286628" y="464185"/>
                  </a:lnTo>
                  <a:lnTo>
                    <a:pt x="318974" y="464185"/>
                  </a:lnTo>
                  <a:cubicBezTo>
                    <a:pt x="340099" y="464185"/>
                    <a:pt x="359902" y="455401"/>
                    <a:pt x="374425" y="440537"/>
                  </a:cubicBezTo>
                  <a:cubicBezTo>
                    <a:pt x="388948" y="424996"/>
                    <a:pt x="396870" y="404726"/>
                    <a:pt x="396870" y="383105"/>
                  </a:cubicBezTo>
                  <a:lnTo>
                    <a:pt x="396870" y="342565"/>
                  </a:lnTo>
                  <a:lnTo>
                    <a:pt x="425915" y="342565"/>
                  </a:lnTo>
                  <a:cubicBezTo>
                    <a:pt x="443079" y="340538"/>
                    <a:pt x="458261" y="320267"/>
                    <a:pt x="442418" y="295268"/>
                  </a:cubicBezTo>
                  <a:close/>
                </a:path>
              </a:pathLst>
            </a:custGeom>
            <a:grpFill/>
            <a:ln w="6548" cap="flat">
              <a:solidFill>
                <a:srgbClr val="FF3399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5950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518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778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0379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29749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5569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81648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07597" algn="l" defTabSz="1051899" rtl="0" eaLnBrk="1" latinLnBrk="0" hangingPunct="1"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051872"/>
              <a:endParaRPr lang="it-IT" sz="2844" dirty="0">
                <a:solidFill>
                  <a:srgbClr val="464646"/>
                </a:solidFill>
                <a:latin typeface="Arial"/>
              </a:endParaRPr>
            </a:p>
          </p:txBody>
        </p:sp>
      </p:grpSp>
      <p:sp>
        <p:nvSpPr>
          <p:cNvPr id="3" name="Sottotitolo 2">
            <a:extLst>
              <a:ext uri="{FF2B5EF4-FFF2-40B4-BE49-F238E27FC236}">
                <a16:creationId xmlns:a16="http://schemas.microsoft.com/office/drawing/2014/main" id="{6066FE9F-754F-4393-ACCE-8B033E0F5D1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3" y="659362"/>
            <a:ext cx="10546877" cy="681622"/>
          </a:xfrm>
        </p:spPr>
        <p:txBody>
          <a:bodyPr/>
          <a:lstStyle/>
          <a:p>
            <a:r>
              <a:rPr lang="it-IT" dirty="0"/>
              <a:t>Premia le Marche che hanno registrato la maggior crescita anno su anno, sia in termini oggettivi </a:t>
            </a:r>
          </a:p>
          <a:p>
            <a:r>
              <a:rPr lang="it-IT" dirty="0"/>
              <a:t>che in termini emozionali.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895AF4C-A0A9-456E-9FED-5615F7637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8641357" cy="369332"/>
          </a:xfrm>
        </p:spPr>
        <p:txBody>
          <a:bodyPr/>
          <a:lstStyle/>
          <a:p>
            <a:r>
              <a:rPr lang="it-IT" dirty="0">
                <a:solidFill>
                  <a:srgbClr val="FF3399"/>
                </a:solidFill>
              </a:rPr>
              <a:t>Best </a:t>
            </a:r>
            <a:r>
              <a:rPr lang="it-IT" dirty="0" err="1">
                <a:solidFill>
                  <a:srgbClr val="FF3399"/>
                </a:solidFill>
              </a:rPr>
              <a:t>Growth</a:t>
            </a:r>
            <a:r>
              <a:rPr lang="it-IT" dirty="0">
                <a:solidFill>
                  <a:srgbClr val="FF3399"/>
                </a:solidFill>
              </a:rPr>
              <a:t> </a:t>
            </a:r>
            <a:r>
              <a:rPr lang="it-IT" dirty="0">
                <a:solidFill>
                  <a:schemeClr val="tx1"/>
                </a:solidFill>
              </a:rPr>
              <a:t>Brand: il modello</a:t>
            </a:r>
            <a:endParaRPr lang="en-GB" dirty="0"/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787C7948-3D36-492A-B97C-813D9134FE84}"/>
              </a:ext>
            </a:extLst>
          </p:cNvPr>
          <p:cNvSpPr/>
          <p:nvPr/>
        </p:nvSpPr>
        <p:spPr>
          <a:xfrm>
            <a:off x="560315" y="1533159"/>
            <a:ext cx="10361721" cy="375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</a:pPr>
            <a:r>
              <a:rPr lang="it-IT" sz="1800" dirty="0">
                <a:solidFill>
                  <a:schemeClr val="bg1"/>
                </a:solidFill>
              </a:rPr>
              <a:t>È basata su:</a:t>
            </a:r>
          </a:p>
        </p:txBody>
      </p:sp>
    </p:spTree>
    <p:extLst>
      <p:ext uri="{BB962C8B-B14F-4D97-AF65-F5344CB8AC3E}">
        <p14:creationId xmlns:p14="http://schemas.microsoft.com/office/powerpoint/2010/main" val="1978812379"/>
      </p:ext>
    </p:extLst>
  </p:cSld>
  <p:clrMapOvr>
    <a:masterClrMapping/>
  </p:clrMapOvr>
  <p:transition>
    <p:randomBar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116">
            <a:extLst>
              <a:ext uri="{FF2B5EF4-FFF2-40B4-BE49-F238E27FC236}">
                <a16:creationId xmlns:a16="http://schemas.microsoft.com/office/drawing/2014/main" id="{D89FFE9A-41D3-4700-830C-66B3101781DB}"/>
              </a:ext>
            </a:extLst>
          </p:cNvPr>
          <p:cNvSpPr/>
          <p:nvPr/>
        </p:nvSpPr>
        <p:spPr bwMode="gray">
          <a:xfrm>
            <a:off x="623392" y="1417540"/>
            <a:ext cx="10361721" cy="4320244"/>
          </a:xfrm>
          <a:prstGeom prst="rect">
            <a:avLst/>
          </a:prstGeom>
          <a:solidFill>
            <a:schemeClr val="bg2">
              <a:lumMod val="25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endParaRPr lang="de-DE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Gruppieren 70">
            <a:extLst>
              <a:ext uri="{FF2B5EF4-FFF2-40B4-BE49-F238E27FC236}">
                <a16:creationId xmlns:a16="http://schemas.microsoft.com/office/drawing/2014/main" id="{FC451732-23A4-43F7-8618-FC9C9F713E24}"/>
              </a:ext>
            </a:extLst>
          </p:cNvPr>
          <p:cNvGrpSpPr/>
          <p:nvPr/>
        </p:nvGrpSpPr>
        <p:grpSpPr>
          <a:xfrm rot="10800000" flipV="1">
            <a:off x="2823569" y="2832069"/>
            <a:ext cx="4272000" cy="816000"/>
            <a:chOff x="6009948" y="1671145"/>
            <a:chExt cx="2460653" cy="741862"/>
          </a:xfrm>
        </p:grpSpPr>
        <p:cxnSp>
          <p:nvCxnSpPr>
            <p:cNvPr id="21" name="Gerader Verbinder 71">
              <a:extLst>
                <a:ext uri="{FF2B5EF4-FFF2-40B4-BE49-F238E27FC236}">
                  <a16:creationId xmlns:a16="http://schemas.microsoft.com/office/drawing/2014/main" id="{8E4AD5B7-928C-4106-9706-5696E268051E}"/>
                </a:ext>
              </a:extLst>
            </p:cNvPr>
            <p:cNvCxnSpPr/>
            <p:nvPr/>
          </p:nvCxnSpPr>
          <p:spPr>
            <a:xfrm rot="10800000" flipH="1">
              <a:off x="6009948" y="1671145"/>
              <a:ext cx="805463" cy="741862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  <p:cxnSp>
          <p:nvCxnSpPr>
            <p:cNvPr id="22" name="Gerader Verbinder 72">
              <a:extLst>
                <a:ext uri="{FF2B5EF4-FFF2-40B4-BE49-F238E27FC236}">
                  <a16:creationId xmlns:a16="http://schemas.microsoft.com/office/drawing/2014/main" id="{C445C2A3-AC6D-4100-9D0D-F4C3AF06CECA}"/>
                </a:ext>
              </a:extLst>
            </p:cNvPr>
            <p:cNvCxnSpPr/>
            <p:nvPr/>
          </p:nvCxnSpPr>
          <p:spPr>
            <a:xfrm rot="10800000" flipH="1">
              <a:off x="6810977" y="1673989"/>
              <a:ext cx="1659624" cy="0"/>
            </a:xfrm>
            <a:prstGeom prst="line">
              <a:avLst/>
            </a:prstGeom>
            <a:noFill/>
            <a:ln w="15875" cap="flat" cmpd="sng" algn="ctr">
              <a:solidFill>
                <a:srgbClr val="FF3399"/>
              </a:solidFill>
              <a:prstDash val="solid"/>
              <a:tailEnd type="none"/>
            </a:ln>
            <a:effectLst/>
          </p:spPr>
        </p:cxnSp>
      </p:grpSp>
      <p:pic>
        <p:nvPicPr>
          <p:cNvPr id="11" name="Elemento grafico 10" descr="Cuore">
            <a:extLst>
              <a:ext uri="{FF2B5EF4-FFF2-40B4-BE49-F238E27FC236}">
                <a16:creationId xmlns:a16="http://schemas.microsoft.com/office/drawing/2014/main" id="{4491886A-7AC3-46A3-964A-65252D5702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8806" y="2284993"/>
            <a:ext cx="914764" cy="936300"/>
          </a:xfrm>
          <a:prstGeom prst="rect">
            <a:avLst/>
          </a:prstGeom>
        </p:spPr>
      </p:pic>
      <p:pic>
        <p:nvPicPr>
          <p:cNvPr id="12" name="Elemento grafico 11" descr="Testa con ingranaggi">
            <a:extLst>
              <a:ext uri="{FF2B5EF4-FFF2-40B4-BE49-F238E27FC236}">
                <a16:creationId xmlns:a16="http://schemas.microsoft.com/office/drawing/2014/main" id="{9B9543AB-F8DF-4B2A-A7FF-1665B32171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9739" y="4229949"/>
            <a:ext cx="844964" cy="864857"/>
          </a:xfrm>
          <a:prstGeom prst="rect">
            <a:avLst/>
          </a:prstGeom>
        </p:spPr>
      </p:pic>
      <p:cxnSp>
        <p:nvCxnSpPr>
          <p:cNvPr id="16" name="Gerader Verbinder 72">
            <a:extLst>
              <a:ext uri="{FF2B5EF4-FFF2-40B4-BE49-F238E27FC236}">
                <a16:creationId xmlns:a16="http://schemas.microsoft.com/office/drawing/2014/main" id="{5D127596-58FF-4623-9AD5-6D178A722CA1}"/>
              </a:ext>
            </a:extLst>
          </p:cNvPr>
          <p:cNvCxnSpPr/>
          <p:nvPr/>
        </p:nvCxnSpPr>
        <p:spPr>
          <a:xfrm flipH="1">
            <a:off x="1908974" y="4674172"/>
            <a:ext cx="2881313" cy="0"/>
          </a:xfrm>
          <a:prstGeom prst="line">
            <a:avLst/>
          </a:prstGeom>
          <a:noFill/>
          <a:ln w="15875" cap="flat" cmpd="sng" algn="ctr">
            <a:solidFill>
              <a:srgbClr val="FF3399"/>
            </a:solidFill>
            <a:prstDash val="solid"/>
            <a:tailEnd type="none"/>
          </a:ln>
          <a:effectLst/>
        </p:spPr>
      </p:cxnSp>
      <p:sp>
        <p:nvSpPr>
          <p:cNvPr id="25" name="Textfeld 43">
            <a:extLst>
              <a:ext uri="{FF2B5EF4-FFF2-40B4-BE49-F238E27FC236}">
                <a16:creationId xmlns:a16="http://schemas.microsoft.com/office/drawing/2014/main" id="{0440B9F2-2E0E-43CC-AC9D-44CB723B11AB}"/>
              </a:ext>
            </a:extLst>
          </p:cNvPr>
          <p:cNvSpPr txBox="1"/>
          <p:nvPr/>
        </p:nvSpPr>
        <p:spPr bwMode="gray">
          <a:xfrm>
            <a:off x="2849912" y="2477408"/>
            <a:ext cx="2793315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 OF SUSTAINABILITY</a:t>
            </a:r>
            <a:endParaRPr lang="it-IT" sz="16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egno verso salute e ambiente</a:t>
            </a:r>
            <a:br>
              <a:rPr lang="it-IT" sz="1200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egno verso i consumatori</a:t>
            </a:r>
            <a:b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petto delle regole e dei diritti dei lavoratori</a:t>
            </a:r>
            <a:endParaRPr lang="it-IT" sz="1467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43">
            <a:extLst>
              <a:ext uri="{FF2B5EF4-FFF2-40B4-BE49-F238E27FC236}">
                <a16:creationId xmlns:a16="http://schemas.microsoft.com/office/drawing/2014/main" id="{281B2468-BCA6-415E-8A73-86E9269EDE37}"/>
              </a:ext>
            </a:extLst>
          </p:cNvPr>
          <p:cNvSpPr txBox="1"/>
          <p:nvPr/>
        </p:nvSpPr>
        <p:spPr bwMode="gray">
          <a:xfrm>
            <a:off x="1562310" y="4325360"/>
            <a:ext cx="3227977" cy="12516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E DELLA MARCA</a:t>
            </a:r>
          </a:p>
          <a:p>
            <a:pPr algn="r">
              <a:spcBef>
                <a:spcPts val="800"/>
              </a:spcBef>
            </a:pPr>
            <a:r>
              <a:rPr lang="it-IT" sz="1600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a di mercato a valore</a:t>
            </a:r>
          </a:p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467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zata come soglia minima di entrata (&gt;=5%)</a:t>
            </a:r>
          </a:p>
        </p:txBody>
      </p:sp>
      <p:sp>
        <p:nvSpPr>
          <p:cNvPr id="5" name="Sottotitolo 4">
            <a:extLst>
              <a:ext uri="{FF2B5EF4-FFF2-40B4-BE49-F238E27FC236}">
                <a16:creationId xmlns:a16="http://schemas.microsoft.com/office/drawing/2014/main" id="{5D8C268F-214A-4A84-978F-2DE211B7488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Misura</a:t>
            </a:r>
            <a:r>
              <a:rPr lang="en-GB" dirty="0"/>
              <a:t> </a:t>
            </a:r>
            <a:r>
              <a:rPr lang="it-IT" dirty="0"/>
              <a:t>l’impegno attivo dei brand per la realizzazione di un futuro sostenibile.</a:t>
            </a:r>
            <a:endParaRPr lang="en-GB" dirty="0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121C5479-EB84-40C0-8847-7387927D9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8641357" cy="369332"/>
          </a:xfrm>
        </p:spPr>
        <p:txBody>
          <a:bodyPr/>
          <a:lstStyle/>
          <a:p>
            <a:r>
              <a:rPr lang="it-IT" dirty="0">
                <a:solidFill>
                  <a:srgbClr val="FF3399"/>
                </a:solidFill>
              </a:rPr>
              <a:t>Best </a:t>
            </a:r>
            <a:r>
              <a:rPr lang="it-IT" dirty="0" err="1">
                <a:solidFill>
                  <a:srgbClr val="FF3399"/>
                </a:solidFill>
              </a:rPr>
              <a:t>Sustainability</a:t>
            </a:r>
            <a:r>
              <a:rPr lang="it-IT" dirty="0">
                <a:solidFill>
                  <a:srgbClr val="FF3399"/>
                </a:solidFill>
              </a:rPr>
              <a:t> </a:t>
            </a:r>
            <a:r>
              <a:rPr lang="it-IT" dirty="0">
                <a:solidFill>
                  <a:schemeClr val="tx1"/>
                </a:solidFill>
              </a:rPr>
              <a:t>Brand: il modello</a:t>
            </a:r>
            <a:endParaRPr lang="en-GB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41A267E4-0FD5-4EBF-9E7A-A7D0B45768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defPPr>
              <a:defRPr lang="de-DE"/>
            </a:defPPr>
            <a:lvl1pPr marL="0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1249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02497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03746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04995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06244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07492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908741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09989" algn="l" defTabSz="1402497" rtl="0" eaLnBrk="1" latinLnBrk="0" hangingPunct="1">
              <a:defRPr sz="284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51846">
              <a:defRPr/>
            </a:pPr>
            <a:fld id="{D3E092A3-C138-8A47-8C92-5DB40FA2E463}" type="slidenum">
              <a:rPr lang="en-US" sz="900" smtClean="0">
                <a:solidFill>
                  <a:srgbClr val="464646">
                    <a:lumMod val="60000"/>
                    <a:lumOff val="40000"/>
                  </a:srgbClr>
                </a:solidFill>
              </a:rPr>
              <a:pPr algn="r" defTabSz="1051846">
                <a:defRPr/>
              </a:pPr>
              <a:t>23</a:t>
            </a:fld>
            <a:endParaRPr lang="en-US" sz="900" dirty="0">
              <a:solidFill>
                <a:srgbClr val="464646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4A4B3A1-BFD5-4F2F-8831-DEFFC17277AB}"/>
              </a:ext>
            </a:extLst>
          </p:cNvPr>
          <p:cNvSpPr txBox="1"/>
          <p:nvPr/>
        </p:nvSpPr>
        <p:spPr>
          <a:xfrm>
            <a:off x="6652298" y="4241877"/>
            <a:ext cx="2978364" cy="2862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it-IT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Media pesata dei 3 fattori di sostenibilità</a:t>
            </a: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560750EC-32F6-486D-BCC2-3523D957CFA3}"/>
              </a:ext>
            </a:extLst>
          </p:cNvPr>
          <p:cNvSpPr/>
          <p:nvPr/>
        </p:nvSpPr>
        <p:spPr>
          <a:xfrm>
            <a:off x="6470368" y="3151997"/>
            <a:ext cx="3322733" cy="1059931"/>
          </a:xfrm>
          <a:prstGeom prst="roundRect">
            <a:avLst/>
          </a:prstGeom>
          <a:ln>
            <a:solidFill>
              <a:srgbClr val="FF3399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0044C040-5985-4FA2-BB0D-C4A5E2D04733}"/>
              </a:ext>
            </a:extLst>
          </p:cNvPr>
          <p:cNvSpPr txBox="1"/>
          <p:nvPr/>
        </p:nvSpPr>
        <p:spPr>
          <a:xfrm>
            <a:off x="6543816" y="3221292"/>
            <a:ext cx="3195325" cy="943269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600" tIns="101600" rIns="101600" bIns="101600" numCol="1" spcCol="1270" anchor="ctr" anchorCtr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48219">
              <a:spcBef>
                <a:spcPct val="0"/>
              </a:spcBef>
            </a:pPr>
            <a:r>
              <a:rPr lang="en-US" sz="2400" noProof="1">
                <a:solidFill>
                  <a:srgbClr val="FF3399"/>
                </a:solidFill>
                <a:latin typeface="Lato"/>
              </a:rPr>
              <a:t>Best Sustainability*          </a:t>
            </a:r>
            <a:r>
              <a:rPr lang="it-IT" sz="1467" b="1" dirty="0">
                <a:solidFill>
                  <a:srgbClr val="414549">
                    <a:hueOff val="0"/>
                    <a:satOff val="0"/>
                    <a:lumOff val="0"/>
                    <a:alphaOff val="0"/>
                  </a:srgbClr>
                </a:solidFill>
              </a:rPr>
              <a:t>IL MAGGIOR IMPEGNO </a:t>
            </a:r>
          </a:p>
          <a:p>
            <a:pPr algn="ctr" defTabSz="948219">
              <a:spcBef>
                <a:spcPct val="0"/>
              </a:spcBef>
            </a:pPr>
            <a:r>
              <a:rPr lang="it-IT" sz="1467" b="1" dirty="0">
                <a:solidFill>
                  <a:srgbClr val="414549">
                    <a:hueOff val="0"/>
                    <a:satOff val="0"/>
                    <a:lumOff val="0"/>
                    <a:alphaOff val="0"/>
                  </a:srgbClr>
                </a:solidFill>
              </a:rPr>
              <a:t>SULLA SOSTENIBILITÀ</a:t>
            </a:r>
            <a:r>
              <a:rPr lang="it-IT" sz="1467" b="1" noProof="1">
                <a:solidFill>
                  <a:srgbClr val="414549">
                    <a:hueOff val="0"/>
                    <a:satOff val="0"/>
                    <a:lumOff val="0"/>
                    <a:alphaOff val="0"/>
                  </a:srgbClr>
                </a:solidFill>
              </a:rPr>
              <a:t> </a:t>
            </a:r>
            <a:endParaRPr lang="it-IT" sz="1467" b="1" dirty="0">
              <a:solidFill>
                <a:srgbClr val="414549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AA089DAB-A917-4423-BD81-99D1E8AC1C65}"/>
              </a:ext>
            </a:extLst>
          </p:cNvPr>
          <p:cNvSpPr/>
          <p:nvPr/>
        </p:nvSpPr>
        <p:spPr>
          <a:xfrm>
            <a:off x="675213" y="1554280"/>
            <a:ext cx="10361721" cy="375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</a:pPr>
            <a:r>
              <a:rPr lang="it-IT" sz="1800" dirty="0">
                <a:solidFill>
                  <a:schemeClr val="bg1"/>
                </a:solidFill>
              </a:rPr>
              <a:t>È basata su:</a:t>
            </a:r>
          </a:p>
        </p:txBody>
      </p:sp>
    </p:spTree>
    <p:extLst>
      <p:ext uri="{BB962C8B-B14F-4D97-AF65-F5344CB8AC3E}">
        <p14:creationId xmlns:p14="http://schemas.microsoft.com/office/powerpoint/2010/main" val="2498924305"/>
      </p:ext>
    </p:extLst>
  </p:cSld>
  <p:clrMapOvr>
    <a:masterClrMapping/>
  </p:clrMapOvr>
  <p:transition>
    <p:randomBar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116">
            <a:extLst>
              <a:ext uri="{FF2B5EF4-FFF2-40B4-BE49-F238E27FC236}">
                <a16:creationId xmlns:a16="http://schemas.microsoft.com/office/drawing/2014/main" id="{350884F5-4695-46D6-84B5-C0F7BE534987}"/>
              </a:ext>
            </a:extLst>
          </p:cNvPr>
          <p:cNvSpPr/>
          <p:nvPr/>
        </p:nvSpPr>
        <p:spPr bwMode="gray">
          <a:xfrm>
            <a:off x="633671" y="1417540"/>
            <a:ext cx="10361721" cy="4320244"/>
          </a:xfrm>
          <a:prstGeom prst="rect">
            <a:avLst/>
          </a:prstGeom>
          <a:solidFill>
            <a:schemeClr val="bg2">
              <a:lumMod val="25000"/>
              <a:alpha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00"/>
              </a:spcBef>
            </a:pPr>
            <a:endParaRPr lang="de-DE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Gerader Verbinder 71">
            <a:extLst>
              <a:ext uri="{FF2B5EF4-FFF2-40B4-BE49-F238E27FC236}">
                <a16:creationId xmlns:a16="http://schemas.microsoft.com/office/drawing/2014/main" id="{8E4AD5B7-928C-4106-9706-5696E268051E}"/>
              </a:ext>
            </a:extLst>
          </p:cNvPr>
          <p:cNvCxnSpPr>
            <a:cxnSpLocks/>
          </p:cNvCxnSpPr>
          <p:nvPr/>
        </p:nvCxnSpPr>
        <p:spPr>
          <a:xfrm flipH="1" flipV="1">
            <a:off x="5893808" y="2209146"/>
            <a:ext cx="977499" cy="752855"/>
          </a:xfrm>
          <a:prstGeom prst="line">
            <a:avLst/>
          </a:prstGeom>
          <a:noFill/>
          <a:ln w="15875" cap="flat" cmpd="sng" algn="ctr">
            <a:solidFill>
              <a:srgbClr val="FF3399"/>
            </a:solidFill>
            <a:prstDash val="solid"/>
            <a:tailEnd type="none"/>
          </a:ln>
          <a:effectLst/>
        </p:spPr>
      </p:cxnSp>
      <p:cxnSp>
        <p:nvCxnSpPr>
          <p:cNvPr id="22" name="Gerader Verbinder 72">
            <a:extLst>
              <a:ext uri="{FF2B5EF4-FFF2-40B4-BE49-F238E27FC236}">
                <a16:creationId xmlns:a16="http://schemas.microsoft.com/office/drawing/2014/main" id="{C445C2A3-AC6D-4100-9D0D-F4C3AF06CECA}"/>
              </a:ext>
            </a:extLst>
          </p:cNvPr>
          <p:cNvCxnSpPr>
            <a:cxnSpLocks/>
          </p:cNvCxnSpPr>
          <p:nvPr/>
        </p:nvCxnSpPr>
        <p:spPr>
          <a:xfrm flipH="1">
            <a:off x="3012496" y="2208527"/>
            <a:ext cx="2881313" cy="2964"/>
          </a:xfrm>
          <a:prstGeom prst="line">
            <a:avLst/>
          </a:prstGeom>
          <a:noFill/>
          <a:ln w="15875" cap="flat" cmpd="sng" algn="ctr">
            <a:solidFill>
              <a:srgbClr val="FF3399"/>
            </a:solidFill>
            <a:prstDash val="solid"/>
            <a:tailEnd type="none"/>
          </a:ln>
          <a:effectLst/>
        </p:spPr>
      </p:cxn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560750EC-32F6-486D-BCC2-3523D957CFA3}"/>
              </a:ext>
            </a:extLst>
          </p:cNvPr>
          <p:cNvSpPr/>
          <p:nvPr/>
        </p:nvSpPr>
        <p:spPr>
          <a:xfrm>
            <a:off x="6694618" y="2943809"/>
            <a:ext cx="3322733" cy="1059931"/>
          </a:xfrm>
          <a:prstGeom prst="roundRect">
            <a:avLst/>
          </a:prstGeom>
          <a:ln>
            <a:solidFill>
              <a:srgbClr val="FF3399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5" name="Textfeld 43">
            <a:extLst>
              <a:ext uri="{FF2B5EF4-FFF2-40B4-BE49-F238E27FC236}">
                <a16:creationId xmlns:a16="http://schemas.microsoft.com/office/drawing/2014/main" id="{0440B9F2-2E0E-43CC-AC9D-44CB723B11AB}"/>
              </a:ext>
            </a:extLst>
          </p:cNvPr>
          <p:cNvSpPr txBox="1"/>
          <p:nvPr/>
        </p:nvSpPr>
        <p:spPr bwMode="gray">
          <a:xfrm>
            <a:off x="2851913" y="1914445"/>
            <a:ext cx="3005171" cy="2236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 OF PHYGITALITY</a:t>
            </a:r>
            <a:endParaRPr lang="it-IT" sz="16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467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GITAL CONSISTENCY</a:t>
            </a:r>
            <a:br>
              <a:rPr lang="it-IT" sz="1467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zione e coerenza off e online                             </a:t>
            </a:r>
          </a:p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467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GITAL CONFIDENCE</a:t>
            </a:r>
            <a:b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zione</a:t>
            </a:r>
            <a:b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467" i="1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bility</a:t>
            </a: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Data </a:t>
            </a:r>
            <a:r>
              <a:rPr lang="it-IT" sz="1467" i="1" dirty="0" err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ility</a:t>
            </a:r>
            <a:r>
              <a:rPr lang="it-IT" sz="1467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Accessibilità/Semplificazione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0044C040-5985-4FA2-BB0D-C4A5E2D04733}"/>
              </a:ext>
            </a:extLst>
          </p:cNvPr>
          <p:cNvSpPr txBox="1"/>
          <p:nvPr/>
        </p:nvSpPr>
        <p:spPr>
          <a:xfrm>
            <a:off x="6768067" y="3013104"/>
            <a:ext cx="3195325" cy="94326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1600" tIns="101600" rIns="101600" bIns="101600" numCol="1" spcCol="1270" anchor="ctr" anchorCtr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48219">
              <a:spcBef>
                <a:spcPct val="0"/>
              </a:spcBef>
            </a:pPr>
            <a:r>
              <a:rPr lang="en-US" sz="2400" noProof="1">
                <a:solidFill>
                  <a:srgbClr val="FF3399"/>
                </a:solidFill>
                <a:latin typeface="Lato"/>
              </a:rPr>
              <a:t>Best Phygital Brand*</a:t>
            </a:r>
          </a:p>
          <a:p>
            <a:pPr algn="ctr" defTabSz="948219">
              <a:spcBef>
                <a:spcPct val="0"/>
              </a:spcBef>
            </a:pPr>
            <a:r>
              <a:rPr lang="it-IT" sz="1467" b="1" dirty="0">
                <a:solidFill>
                  <a:srgbClr val="414549">
                    <a:hueOff val="0"/>
                    <a:satOff val="0"/>
                    <a:lumOff val="0"/>
                    <a:alphaOff val="0"/>
                  </a:srgbClr>
                </a:solidFill>
              </a:rPr>
              <a:t>LA MIGLIOR ESPERIENZA INTEGRATA OFF/ONLINE</a:t>
            </a:r>
          </a:p>
        </p:txBody>
      </p:sp>
      <p:pic>
        <p:nvPicPr>
          <p:cNvPr id="17" name="Elemento grafico 16" descr="Testa con ingranaggi">
            <a:extLst>
              <a:ext uri="{FF2B5EF4-FFF2-40B4-BE49-F238E27FC236}">
                <a16:creationId xmlns:a16="http://schemas.microsoft.com/office/drawing/2014/main" id="{22C077E6-4A0C-446C-B3F3-E39A51E1B9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018" y="4229949"/>
            <a:ext cx="844964" cy="864857"/>
          </a:xfrm>
          <a:prstGeom prst="rect">
            <a:avLst/>
          </a:prstGeom>
        </p:spPr>
      </p:pic>
      <p:cxnSp>
        <p:nvCxnSpPr>
          <p:cNvPr id="19" name="Gerader Verbinder 72">
            <a:extLst>
              <a:ext uri="{FF2B5EF4-FFF2-40B4-BE49-F238E27FC236}">
                <a16:creationId xmlns:a16="http://schemas.microsoft.com/office/drawing/2014/main" id="{27CF5374-68CB-492A-9DCB-624A17A1F92B}"/>
              </a:ext>
            </a:extLst>
          </p:cNvPr>
          <p:cNvCxnSpPr/>
          <p:nvPr/>
        </p:nvCxnSpPr>
        <p:spPr>
          <a:xfrm flipH="1">
            <a:off x="1919253" y="4674172"/>
            <a:ext cx="2881313" cy="0"/>
          </a:xfrm>
          <a:prstGeom prst="line">
            <a:avLst/>
          </a:prstGeom>
          <a:noFill/>
          <a:ln w="15875" cap="flat" cmpd="sng" algn="ctr">
            <a:solidFill>
              <a:srgbClr val="FF3399"/>
            </a:solidFill>
            <a:prstDash val="solid"/>
            <a:tailEnd type="none"/>
          </a:ln>
          <a:effectLst/>
        </p:spPr>
      </p:cxnSp>
      <p:sp>
        <p:nvSpPr>
          <p:cNvPr id="27" name="Textfeld 43">
            <a:extLst>
              <a:ext uri="{FF2B5EF4-FFF2-40B4-BE49-F238E27FC236}">
                <a16:creationId xmlns:a16="http://schemas.microsoft.com/office/drawing/2014/main" id="{80B55F12-707A-41DB-BEBB-54353BC21E29}"/>
              </a:ext>
            </a:extLst>
          </p:cNvPr>
          <p:cNvSpPr txBox="1"/>
          <p:nvPr/>
        </p:nvSpPr>
        <p:spPr bwMode="gray">
          <a:xfrm>
            <a:off x="1572589" y="4325360"/>
            <a:ext cx="3227977" cy="12516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SIONE DELLA MARCA</a:t>
            </a:r>
          </a:p>
          <a:p>
            <a:pPr algn="r">
              <a:spcBef>
                <a:spcPts val="800"/>
              </a:spcBef>
            </a:pPr>
            <a:r>
              <a:rPr lang="it-IT" sz="1600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a di mercato a valore</a:t>
            </a:r>
          </a:p>
          <a:p>
            <a:pPr algn="r">
              <a:spcBef>
                <a:spcPts val="800"/>
              </a:spcBef>
              <a:spcAft>
                <a:spcPts val="800"/>
              </a:spcAft>
            </a:pPr>
            <a:r>
              <a:rPr lang="it-IT" sz="1467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zata come soglia minima di entrata (&gt;=5%)</a:t>
            </a:r>
          </a:p>
        </p:txBody>
      </p:sp>
      <p:pic>
        <p:nvPicPr>
          <p:cNvPr id="28" name="Elemento grafico 27" descr="Cuore">
            <a:extLst>
              <a:ext uri="{FF2B5EF4-FFF2-40B4-BE49-F238E27FC236}">
                <a16:creationId xmlns:a16="http://schemas.microsoft.com/office/drawing/2014/main" id="{B01ECD38-DE64-42E3-A162-6F047DD9A4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34998" y="1801288"/>
            <a:ext cx="914764" cy="936300"/>
          </a:xfrm>
          <a:prstGeom prst="rect">
            <a:avLst/>
          </a:prstGeom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0AB92AEE-966A-4E81-827F-C537BDF579DB}"/>
              </a:ext>
            </a:extLst>
          </p:cNvPr>
          <p:cNvSpPr txBox="1"/>
          <p:nvPr/>
        </p:nvSpPr>
        <p:spPr>
          <a:xfrm>
            <a:off x="6775379" y="4182574"/>
            <a:ext cx="2937622" cy="2107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51872">
              <a:lnSpc>
                <a:spcPct val="120000"/>
              </a:lnSpc>
              <a:spcAft>
                <a:spcPts val="800"/>
              </a:spcAft>
            </a:pPr>
            <a:r>
              <a:rPr lang="it-IT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Media dei punteggi sulle due dimensioni 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C90D9FE2-2042-41C5-B7A6-51389DF5C60F}"/>
              </a:ext>
            </a:extLst>
          </p:cNvPr>
          <p:cNvSpPr/>
          <p:nvPr/>
        </p:nvSpPr>
        <p:spPr>
          <a:xfrm>
            <a:off x="685492" y="1554280"/>
            <a:ext cx="10361721" cy="375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</a:pPr>
            <a:r>
              <a:rPr lang="it-IT" sz="1800" dirty="0">
                <a:solidFill>
                  <a:schemeClr val="bg1"/>
                </a:solidFill>
              </a:rPr>
              <a:t>È basata su: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78AD8E47-435B-4A33-80F5-9BD19C3CBDC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 dirty="0"/>
              <a:t>Premia i Brand che hanno saputo connettere in maniera coerente, integrata e soddisfacente </a:t>
            </a:r>
          </a:p>
          <a:p>
            <a:r>
              <a:rPr lang="it-IT" dirty="0"/>
              <a:t>l’esperienza di marca offline e online.</a:t>
            </a:r>
            <a:endParaRPr lang="en-GB" dirty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B70A2CF-F67A-4D1C-9B8C-0F2428762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60648"/>
            <a:ext cx="8641357" cy="369332"/>
          </a:xfrm>
        </p:spPr>
        <p:txBody>
          <a:bodyPr/>
          <a:lstStyle/>
          <a:p>
            <a:r>
              <a:rPr lang="it-IT" dirty="0">
                <a:solidFill>
                  <a:srgbClr val="FF3399"/>
                </a:solidFill>
              </a:rPr>
              <a:t>Best </a:t>
            </a:r>
            <a:r>
              <a:rPr lang="en-US" dirty="0" err="1">
                <a:solidFill>
                  <a:srgbClr val="FF3399"/>
                </a:solidFill>
              </a:rPr>
              <a:t>Phygital</a:t>
            </a:r>
            <a:r>
              <a:rPr lang="it-IT" dirty="0"/>
              <a:t> </a:t>
            </a:r>
            <a:r>
              <a:rPr lang="it-IT" dirty="0">
                <a:solidFill>
                  <a:schemeClr val="tx1"/>
                </a:solidFill>
              </a:rPr>
              <a:t>Brand: il mod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394808"/>
      </p:ext>
    </p:extLst>
  </p:cSld>
  <p:clrMapOvr>
    <a:masterClrMapping/>
  </p:clrMapOvr>
  <p:transition>
    <p:randomBar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ottotitolo 10">
            <a:extLst>
              <a:ext uri="{FF2B5EF4-FFF2-40B4-BE49-F238E27FC236}">
                <a16:creationId xmlns:a16="http://schemas.microsoft.com/office/drawing/2014/main" id="{5175B381-AABE-41FA-B3CF-EBF97607921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it-IT"/>
              <a:t>La nuova Classifica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B1A1D08-8D18-40E9-9C44-46CD0BA5E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900" b="1">
                <a:latin typeface="+mj-lt"/>
                <a:ea typeface="+mj-ea"/>
                <a:cs typeface="+mj-cs"/>
              </a:rPr>
              <a:t>Edizione 2023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1F754F70-1644-4BD0-8ABD-86BEA1F6B923}"/>
              </a:ext>
            </a:extLst>
          </p:cNvPr>
          <p:cNvSpPr txBox="1"/>
          <p:nvPr/>
        </p:nvSpPr>
        <p:spPr>
          <a:xfrm>
            <a:off x="5817966" y="1914061"/>
            <a:ext cx="5986680" cy="1904466"/>
          </a:xfrm>
          <a:prstGeom prst="rect">
            <a:avLst/>
          </a:prstGeom>
          <a:noFill/>
          <a:ln>
            <a:solidFill>
              <a:srgbClr val="FF3399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>
              <a:lnSpc>
                <a:spcPct val="125000"/>
              </a:lnSpc>
              <a:buClr>
                <a:schemeClr val="tx2"/>
              </a:buClr>
            </a:pPr>
            <a:r>
              <a:rPr lang="it-IT" sz="1600" i="1" dirty="0">
                <a:solidFill>
                  <a:srgbClr val="FF3399"/>
                </a:solidFill>
              </a:rPr>
              <a:t>La forza dell’approccio di Best Brands </a:t>
            </a:r>
            <a:r>
              <a:rPr lang="it-IT" sz="1600" i="1" dirty="0"/>
              <a:t>risiede da sempre nella scelta di </a:t>
            </a:r>
            <a:r>
              <a:rPr lang="it-IT" sz="1600" i="1" dirty="0">
                <a:solidFill>
                  <a:srgbClr val="FF3399"/>
                </a:solidFill>
              </a:rPr>
              <a:t>far valutare e decretare il vincitore </a:t>
            </a:r>
            <a:r>
              <a:rPr lang="it-IT" sz="1600" i="1" dirty="0"/>
              <a:t>di ciascuna classifica, </a:t>
            </a:r>
            <a:r>
              <a:rPr lang="it-IT" sz="1600" i="1" dirty="0">
                <a:solidFill>
                  <a:srgbClr val="FF3399"/>
                </a:solidFill>
              </a:rPr>
              <a:t>direttamente ai consumatori </a:t>
            </a:r>
            <a:r>
              <a:rPr lang="it-IT" sz="1600" i="1" dirty="0"/>
              <a:t>e non ad una giuria di esperti e/o addetti ai lavori.</a:t>
            </a:r>
          </a:p>
          <a:p>
            <a:pPr marL="90488">
              <a:lnSpc>
                <a:spcPct val="125000"/>
              </a:lnSpc>
              <a:buClr>
                <a:schemeClr val="tx2"/>
              </a:buClr>
            </a:pPr>
            <a:r>
              <a:rPr lang="it-IT" sz="1600" i="1" dirty="0"/>
              <a:t>Riteniamo </a:t>
            </a:r>
            <a:r>
              <a:rPr lang="it-IT" sz="1600" i="1" dirty="0">
                <a:solidFill>
                  <a:srgbClr val="FF3399"/>
                </a:solidFill>
              </a:rPr>
              <a:t>fondamentale conservare questa cifra distintiva </a:t>
            </a:r>
            <a:r>
              <a:rPr lang="it-IT" sz="1600" i="1" dirty="0"/>
              <a:t>- che è peraltro </a:t>
            </a:r>
            <a:r>
              <a:rPr lang="it-IT" sz="1600" i="1" dirty="0">
                <a:solidFill>
                  <a:srgbClr val="FF3399"/>
                </a:solidFill>
              </a:rPr>
              <a:t>garanzia di oggettività </a:t>
            </a:r>
            <a:r>
              <a:rPr lang="it-IT" sz="1600" i="1" dirty="0"/>
              <a:t>-, </a:t>
            </a:r>
            <a:r>
              <a:rPr lang="it-IT" sz="1600" i="1" dirty="0">
                <a:solidFill>
                  <a:srgbClr val="FF3399"/>
                </a:solidFill>
              </a:rPr>
              <a:t>anche nella determinazione del Best of the Best</a:t>
            </a:r>
            <a:r>
              <a:rPr lang="it-IT" sz="1600" i="1" dirty="0"/>
              <a:t>.</a:t>
            </a:r>
          </a:p>
        </p:txBody>
      </p:sp>
      <p:sp>
        <p:nvSpPr>
          <p:cNvPr id="30" name="Shape">
            <a:extLst>
              <a:ext uri="{FF2B5EF4-FFF2-40B4-BE49-F238E27FC236}">
                <a16:creationId xmlns:a16="http://schemas.microsoft.com/office/drawing/2014/main" id="{7908B5DC-098E-43DB-889A-3C59F30716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gray">
          <a:xfrm>
            <a:off x="103894" y="1921714"/>
            <a:ext cx="5210058" cy="4464496"/>
          </a:xfrm>
          <a:custGeom>
            <a:avLst/>
            <a:gdLst>
              <a:gd name="T0" fmla="*/ 0 w 2227"/>
              <a:gd name="T1" fmla="*/ 0 h 2226"/>
              <a:gd name="T2" fmla="*/ 2227 w 2227"/>
              <a:gd name="T3" fmla="*/ 0 h 2226"/>
              <a:gd name="T4" fmla="*/ 2227 w 2227"/>
              <a:gd name="T5" fmla="*/ 2226 h 2226"/>
              <a:gd name="T6" fmla="*/ 371 w 2227"/>
              <a:gd name="T7" fmla="*/ 1856 h 2226"/>
              <a:gd name="T8" fmla="*/ 0 w 2227"/>
              <a:gd name="T9" fmla="*/ 0 h 2226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997 w 10000"/>
              <a:gd name="connsiteY3" fmla="*/ 6425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1454 w 10000"/>
              <a:gd name="connsiteY3" fmla="*/ 7157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10000"/>
                </a:lnTo>
                <a:lnTo>
                  <a:pt x="1454" y="7157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Freeform: Shape 40">
            <a:extLst>
              <a:ext uri="{FF2B5EF4-FFF2-40B4-BE49-F238E27FC236}">
                <a16:creationId xmlns:a16="http://schemas.microsoft.com/office/drawing/2014/main" id="{668E064E-CDB6-4DA3-8EBD-5806A5DE8319}"/>
              </a:ext>
            </a:extLst>
          </p:cNvPr>
          <p:cNvSpPr>
            <a:spLocks noChangeAspect="1"/>
          </p:cNvSpPr>
          <p:nvPr/>
        </p:nvSpPr>
        <p:spPr>
          <a:xfrm rot="16200000" flipH="1">
            <a:off x="5339952" y="4179677"/>
            <a:ext cx="432000" cy="216000"/>
          </a:xfrm>
          <a:custGeom>
            <a:avLst/>
            <a:gdLst>
              <a:gd name="connsiteX0" fmla="*/ 432048 w 432048"/>
              <a:gd name="connsiteY0" fmla="*/ 0 h 216024"/>
              <a:gd name="connsiteX1" fmla="*/ 324036 w 432048"/>
              <a:gd name="connsiteY1" fmla="*/ 0 h 216024"/>
              <a:gd name="connsiteX2" fmla="*/ 216024 w 432048"/>
              <a:gd name="connsiteY2" fmla="*/ 108012 h 216024"/>
              <a:gd name="connsiteX3" fmla="*/ 108012 w 432048"/>
              <a:gd name="connsiteY3" fmla="*/ 0 h 216024"/>
              <a:gd name="connsiteX4" fmla="*/ 0 w 432048"/>
              <a:gd name="connsiteY4" fmla="*/ 0 h 216024"/>
              <a:gd name="connsiteX5" fmla="*/ 216024 w 432048"/>
              <a:gd name="connsiteY5" fmla="*/ 216024 h 216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2048" h="216024">
                <a:moveTo>
                  <a:pt x="432048" y="0"/>
                </a:moveTo>
                <a:lnTo>
                  <a:pt x="324036" y="0"/>
                </a:lnTo>
                <a:lnTo>
                  <a:pt x="216024" y="108012"/>
                </a:lnTo>
                <a:lnTo>
                  <a:pt x="108012" y="0"/>
                </a:lnTo>
                <a:lnTo>
                  <a:pt x="0" y="0"/>
                </a:lnTo>
                <a:lnTo>
                  <a:pt x="216024" y="216024"/>
                </a:lnTo>
                <a:close/>
              </a:path>
            </a:pathLst>
          </a:custGeom>
          <a:solidFill>
            <a:srgbClr val="FF3399"/>
          </a:solidFill>
          <a:ln w="19050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noAutofit/>
          </a:bodyPr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63F491DD-145C-414D-9369-88949F44DF97}"/>
              </a:ext>
            </a:extLst>
          </p:cNvPr>
          <p:cNvSpPr txBox="1"/>
          <p:nvPr/>
        </p:nvSpPr>
        <p:spPr>
          <a:xfrm>
            <a:off x="5817966" y="3930788"/>
            <a:ext cx="5986680" cy="2416063"/>
          </a:xfrm>
          <a:prstGeom prst="rect">
            <a:avLst/>
          </a:prstGeom>
          <a:noFill/>
          <a:ln>
            <a:solidFill>
              <a:srgbClr val="FF3399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950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8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79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749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69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648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597" algn="l" defTabSz="1051899" rtl="0" eaLnBrk="1" latinLnBrk="0" hangingPunct="1"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>
              <a:lnSpc>
                <a:spcPct val="125000"/>
              </a:lnSpc>
              <a:buClr>
                <a:schemeClr val="tx2"/>
              </a:buClr>
            </a:pPr>
            <a:r>
              <a:rPr lang="it-IT" sz="1600" i="1" dirty="0">
                <a:solidFill>
                  <a:srgbClr val="FF3399"/>
                </a:solidFill>
              </a:rPr>
              <a:t>Best of the Best – La metodologia:</a:t>
            </a:r>
            <a:r>
              <a:rPr lang="it-IT" sz="1600" i="1" dirty="0"/>
              <a:t> </a:t>
            </a:r>
            <a:endParaRPr lang="it-IT" sz="1600" i="1" dirty="0">
              <a:solidFill>
                <a:srgbClr val="464646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90488">
              <a:lnSpc>
                <a:spcPct val="125000"/>
              </a:lnSpc>
              <a:buClr>
                <a:schemeClr val="tx2"/>
              </a:buClr>
            </a:pP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 </a:t>
            </a:r>
            <a:r>
              <a:rPr lang="it-IT" sz="1400" i="1" dirty="0">
                <a:solidFill>
                  <a:srgbClr val="FF33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p 5 brands di ogni classifica 2023 </a:t>
            </a: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20 marche in totale) verranno valutati da un </a:t>
            </a:r>
            <a:r>
              <a:rPr lang="it-IT" sz="1400" i="1" dirty="0">
                <a:solidFill>
                  <a:srgbClr val="FF33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mpione</a:t>
            </a: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di 1.000 individui rappresentativo della popolazione italiana, utilizzando come </a:t>
            </a:r>
            <a:r>
              <a:rPr lang="it-IT" sz="1400" i="1" dirty="0">
                <a:solidFill>
                  <a:srgbClr val="FF33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etodologia</a:t>
            </a: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sempre il Panel proprietario </a:t>
            </a:r>
            <a:r>
              <a:rPr lang="it-IT" sz="1400" i="1" dirty="0" err="1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alogatore</a:t>
            </a: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di GfK Italia.</a:t>
            </a:r>
          </a:p>
          <a:p>
            <a:pPr marL="90488">
              <a:lnSpc>
                <a:spcPct val="125000"/>
              </a:lnSpc>
              <a:buClr>
                <a:schemeClr val="tx2"/>
              </a:buClr>
            </a:pP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ttraverso </a:t>
            </a:r>
            <a:r>
              <a:rPr lang="it-IT" sz="1400" i="1" dirty="0">
                <a:solidFill>
                  <a:srgbClr val="FF33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na sola domanda con risposta singola </a:t>
            </a:r>
            <a:r>
              <a:rPr lang="it-IT" sz="1400" i="1" dirty="0">
                <a:solidFill>
                  <a:srgbClr val="464646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errà individuata la Marca, che nell’anno 2022 si è distinta, oltre che per l’offerta e per la qualità delle esperienze on e offline, anche per l’impegno e la vicinanza ai problemi del nostro tempo e delle persone.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F00B6725-AC27-4C8A-BAA7-9D8917290A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2204864"/>
            <a:ext cx="3888432" cy="2933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117135"/>
      </p:ext>
    </p:extLst>
  </p:cSld>
  <p:clrMapOvr>
    <a:masterClrMapping/>
  </p:clrMapOvr>
  <p:transition>
    <p:randomBar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B86D742B-A54F-425E-B41D-2980BB89E1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>
                <a:latin typeface="Arial Black" panose="020B0A04020102020204" pitchFamily="34" charset="0"/>
              </a:rPr>
              <a:t>BEST THANKS</a:t>
            </a:r>
            <a:endParaRPr lang="en-US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2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LA STORIA E I FONDATORI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7CEF767A-30E6-02DA-3B09-E602DEEA05AA}"/>
              </a:ext>
            </a:extLst>
          </p:cNvPr>
          <p:cNvSpPr/>
          <p:nvPr/>
        </p:nvSpPr>
        <p:spPr>
          <a:xfrm>
            <a:off x="277489" y="1988840"/>
            <a:ext cx="11723167" cy="3456384"/>
          </a:xfrm>
          <a:prstGeom prst="rect">
            <a:avLst/>
          </a:prstGeom>
          <a:solidFill>
            <a:schemeClr val="bg1"/>
          </a:solidFill>
          <a:ln w="28575"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magine 6" descr="Immagine che contiene testo&#10;&#10;Descrizione generata automaticamente">
            <a:extLst>
              <a:ext uri="{FF2B5EF4-FFF2-40B4-BE49-F238E27FC236}">
                <a16:creationId xmlns:a16="http://schemas.microsoft.com/office/drawing/2014/main" id="{87C6D2D8-FB1A-F9B6-BC0F-BF916A1648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505" y="2857500"/>
            <a:ext cx="2645132" cy="465764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C0573CE2-7BBF-CC35-11B6-C78D653314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2065" y="2531176"/>
            <a:ext cx="1430726" cy="100843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D9540FE-7021-78EA-D554-25FEC241D3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8369" y="2204864"/>
            <a:ext cx="2395002" cy="1694464"/>
          </a:xfrm>
          <a:prstGeom prst="rect">
            <a:avLst/>
          </a:prstGeom>
        </p:spPr>
      </p:pic>
      <p:pic>
        <p:nvPicPr>
          <p:cNvPr id="10" name="Immagine 9" descr="Immagine che contiene testo, clipart&#10;&#10;Descrizione generata automaticamente">
            <a:extLst>
              <a:ext uri="{FF2B5EF4-FFF2-40B4-BE49-F238E27FC236}">
                <a16:creationId xmlns:a16="http://schemas.microsoft.com/office/drawing/2014/main" id="{58DFE390-8488-38EB-C148-0C4A614F3FD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261"/>
          <a:stretch/>
        </p:blipFill>
        <p:spPr>
          <a:xfrm>
            <a:off x="10430617" y="2531177"/>
            <a:ext cx="1539013" cy="95437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0454EDCA-EEBB-1FFC-7FF3-C71B2A6CF0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8249" y="2728840"/>
            <a:ext cx="1216250" cy="594424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8839622-7A25-8B7F-3F26-B829A82699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43438" y="4077026"/>
            <a:ext cx="2221429" cy="1247386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5ECF603A-38D7-2BEA-DA8F-B4FEEBA8D7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12211" y="2855340"/>
            <a:ext cx="1891701" cy="46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55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L’ULTIMA EDIZIONE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EE5C1F2D-2083-A7B3-28FE-D8B788148C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322" b="18859"/>
          <a:stretch/>
        </p:blipFill>
        <p:spPr>
          <a:xfrm>
            <a:off x="546214" y="1601760"/>
            <a:ext cx="10419578" cy="377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1953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BEST PRODUCT BRAND 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Immagine 2" descr="Immagine che contiene notte&#10;&#10;Descrizione generata automaticamente">
            <a:extLst>
              <a:ext uri="{FF2B5EF4-FFF2-40B4-BE49-F238E27FC236}">
                <a16:creationId xmlns:a16="http://schemas.microsoft.com/office/drawing/2014/main" id="{2E4A1625-73B1-49C8-84B6-C8DDDC5D3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5680" y="2081111"/>
            <a:ext cx="4043668" cy="269577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pic>
        <p:nvPicPr>
          <p:cNvPr id="6" name="Immagine 5" descr="Immagine che contiene testo, palcoscenico, soffitto, scena&#10;&#10;Descrizione generata automaticamente">
            <a:extLst>
              <a:ext uri="{FF2B5EF4-FFF2-40B4-BE49-F238E27FC236}">
                <a16:creationId xmlns:a16="http://schemas.microsoft.com/office/drawing/2014/main" id="{B5A0D34A-1032-45A0-98AF-6D5FEB3F59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2144" y="2074576"/>
            <a:ext cx="4062875" cy="270884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graphicFrame>
        <p:nvGraphicFramePr>
          <p:cNvPr id="20" name="Tabella 19">
            <a:extLst>
              <a:ext uri="{FF2B5EF4-FFF2-40B4-BE49-F238E27FC236}">
                <a16:creationId xmlns:a16="http://schemas.microsoft.com/office/drawing/2014/main" id="{E0DF1F0D-1F79-4880-AEBE-55B4910AC29C}"/>
              </a:ext>
            </a:extLst>
          </p:cNvPr>
          <p:cNvGraphicFramePr>
            <a:graphicFrameLocks noGrp="1"/>
          </p:cNvGraphicFramePr>
          <p:nvPr/>
        </p:nvGraphicFramePr>
        <p:xfrm>
          <a:off x="630873" y="2074576"/>
          <a:ext cx="2190426" cy="2710320"/>
        </p:xfrm>
        <a:graphic>
          <a:graphicData uri="http://schemas.openxmlformats.org/drawingml/2006/table">
            <a:tbl>
              <a:tblPr/>
              <a:tblGrid>
                <a:gridCol w="2190426">
                  <a:extLst>
                    <a:ext uri="{9D8B030D-6E8A-4147-A177-3AD203B41FA5}">
                      <a16:colId xmlns:a16="http://schemas.microsoft.com/office/drawing/2014/main" val="62848294"/>
                    </a:ext>
                  </a:extLst>
                </a:gridCol>
              </a:tblGrid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u="none" strike="noStrike" kern="0" baseline="0" dirty="0">
                          <a:solidFill>
                            <a:srgbClr val="FF00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lino Bianco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089330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u="none" strike="noStrike" kern="0" baseline="0" dirty="0">
                          <a:solidFill>
                            <a:srgbClr val="FF00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tella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35365238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u="none" strike="noStrike" kern="0" baseline="0" dirty="0">
                          <a:solidFill>
                            <a:srgbClr val="FF00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ca Cola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5314078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o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6760478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sh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17740419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xa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077234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o Mar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00400543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k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29829904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sung </a:t>
                      </a:r>
                      <a:r>
                        <a:rPr lang="it-IT" sz="11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udio/Video)</a:t>
                      </a:r>
                      <a:endParaRPr lang="it-IT" sz="1400" b="0" u="none" strike="noStrike" kern="0" baseline="0" dirty="0">
                        <a:solidFill>
                          <a:srgbClr val="35434D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68980332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400" b="0" u="none" strike="noStrike" kern="0" baseline="0" dirty="0">
                          <a:solidFill>
                            <a:srgbClr val="35434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nder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97665336"/>
                  </a:ext>
                </a:extLst>
              </a:tr>
            </a:tbl>
          </a:graphicData>
        </a:graphic>
      </p:graphicFrame>
      <p:pic>
        <p:nvPicPr>
          <p:cNvPr id="18" name="Immagine 17">
            <a:extLst>
              <a:ext uri="{FF2B5EF4-FFF2-40B4-BE49-F238E27FC236}">
                <a16:creationId xmlns:a16="http://schemas.microsoft.com/office/drawing/2014/main" id="{FAA38BA7-A570-454A-B29A-29C314DE03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1289" y="2132856"/>
            <a:ext cx="3963303" cy="2642202"/>
          </a:xfrm>
          <a:prstGeom prst="rect">
            <a:avLst/>
          </a:prstGeom>
        </p:spPr>
      </p:pic>
      <p:pic>
        <p:nvPicPr>
          <p:cNvPr id="21" name="Immagine 20" descr="Immagine che contiene testo, notte, palcoscenico, scuro&#10;&#10;Descrizione generata automaticamente">
            <a:extLst>
              <a:ext uri="{FF2B5EF4-FFF2-40B4-BE49-F238E27FC236}">
                <a16:creationId xmlns:a16="http://schemas.microsoft.com/office/drawing/2014/main" id="{419EAE35-395E-4D69-A81B-19386236C6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1754" y="2081111"/>
            <a:ext cx="4007512" cy="2671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890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>
                <a:solidFill>
                  <a:srgbClr val="35434D"/>
                </a:solidFill>
                <a:latin typeface="Arial Black" panose="020B0A04020102020204" pitchFamily="34" charset="0"/>
              </a:rPr>
              <a:t>BEST GROWTH BRAND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Immagine 2" descr="Immagine che contiene notte&#10;&#10;Descrizione generata automaticamente">
            <a:extLst>
              <a:ext uri="{FF2B5EF4-FFF2-40B4-BE49-F238E27FC236}">
                <a16:creationId xmlns:a16="http://schemas.microsoft.com/office/drawing/2014/main" id="{2E4A1625-73B1-49C8-84B6-C8DDDC5D3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5680" y="2081111"/>
            <a:ext cx="4043668" cy="269577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pic>
        <p:nvPicPr>
          <p:cNvPr id="6" name="Immagine 5" descr="Immagine che contiene testo, palcoscenico, soffitto, scena&#10;&#10;Descrizione generata automaticamente">
            <a:extLst>
              <a:ext uri="{FF2B5EF4-FFF2-40B4-BE49-F238E27FC236}">
                <a16:creationId xmlns:a16="http://schemas.microsoft.com/office/drawing/2014/main" id="{B5A0D34A-1032-45A0-98AF-6D5FEB3F59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2144" y="2074576"/>
            <a:ext cx="4062875" cy="270884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graphicFrame>
        <p:nvGraphicFramePr>
          <p:cNvPr id="15" name="Tabella 14">
            <a:extLst>
              <a:ext uri="{FF2B5EF4-FFF2-40B4-BE49-F238E27FC236}">
                <a16:creationId xmlns:a16="http://schemas.microsoft.com/office/drawing/2014/main" id="{B6992969-5FD4-4139-A5DF-3B1DE761B236}"/>
              </a:ext>
            </a:extLst>
          </p:cNvPr>
          <p:cNvGraphicFramePr>
            <a:graphicFrameLocks noGrp="1"/>
          </p:cNvGraphicFramePr>
          <p:nvPr/>
        </p:nvGraphicFramePr>
        <p:xfrm>
          <a:off x="642093" y="2086832"/>
          <a:ext cx="2190427" cy="2710320"/>
        </p:xfrm>
        <a:graphic>
          <a:graphicData uri="http://schemas.openxmlformats.org/drawingml/2006/table">
            <a:tbl>
              <a:tblPr/>
              <a:tblGrid>
                <a:gridCol w="2190427">
                  <a:extLst>
                    <a:ext uri="{9D8B030D-6E8A-4147-A177-3AD203B41FA5}">
                      <a16:colId xmlns:a16="http://schemas.microsoft.com/office/drawing/2014/main" val="3326660095"/>
                    </a:ext>
                  </a:extLst>
                </a:gridCol>
              </a:tblGrid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u="none" strike="noStrike" dirty="0">
                          <a:solidFill>
                            <a:srgbClr val="FF0066"/>
                          </a:solidFill>
                          <a:effectLst/>
                        </a:rPr>
                        <a:t>M</a:t>
                      </a:r>
                      <a:r>
                        <a:rPr lang="it" sz="1400" b="1" i="0" u="none" strike="noStrike" noProof="0" dirty="0">
                          <a:solidFill>
                            <a:srgbClr val="FF0066"/>
                          </a:solidFill>
                          <a:effectLst/>
                          <a:latin typeface="Calibri"/>
                        </a:rPr>
                        <a:t>ü</a:t>
                      </a:r>
                      <a:r>
                        <a:rPr lang="it-IT" sz="1400" b="1" u="none" strike="noStrike" dirty="0" err="1">
                          <a:solidFill>
                            <a:srgbClr val="FF0066"/>
                          </a:solidFill>
                          <a:effectLst/>
                        </a:rPr>
                        <a:t>ller</a:t>
                      </a:r>
                      <a:endParaRPr lang="it-IT" sz="1400" b="1" i="0" u="none" strike="noStrike" dirty="0" err="1">
                        <a:solidFill>
                          <a:srgbClr val="FF0066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5205312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u="none" strike="noStrike" dirty="0" err="1">
                          <a:solidFill>
                            <a:srgbClr val="FF0066"/>
                          </a:solidFill>
                          <a:effectLst/>
                        </a:rPr>
                        <a:t>As</a:t>
                      </a:r>
                      <a:r>
                        <a:rPr lang="it-IT" sz="1400" b="1" u="none" strike="noStrike" dirty="0">
                          <a:solidFill>
                            <a:srgbClr val="FF0066"/>
                          </a:solidFill>
                          <a:effectLst/>
                        </a:rPr>
                        <a:t> Do Mar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6055414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u="none" strike="noStrike" dirty="0" err="1">
                          <a:solidFill>
                            <a:srgbClr val="FF0066"/>
                          </a:solidFill>
                          <a:effectLst/>
                        </a:rPr>
                        <a:t>Elmex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5475230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dirty="0">
                          <a:solidFill>
                            <a:srgbClr val="35434D"/>
                          </a:solidFill>
                          <a:effectLst/>
                        </a:rPr>
                        <a:t>San Benedetto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9380932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</a:rPr>
                        <a:t>Borotalco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86766612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</a:rPr>
                        <a:t>Campari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02192394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</a:rPr>
                        <a:t>L’Angelica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14552157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Sogni d’Oro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38733925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Apple </a:t>
                      </a:r>
                      <a:r>
                        <a:rPr lang="it-IT" sz="11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(Hardware/PC)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09020360"/>
                  </a:ext>
                </a:extLst>
              </a:tr>
              <a:tr h="271032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Caffè Borbon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19653064"/>
                  </a:ext>
                </a:extLst>
              </a:tr>
            </a:tbl>
          </a:graphicData>
        </a:graphic>
      </p:graphicFrame>
      <p:pic>
        <p:nvPicPr>
          <p:cNvPr id="10" name="Immagine 9" descr="Immagine che contiene testo, palcoscenico, notte, luce&#10;&#10;Descrizione generata automaticamente">
            <a:extLst>
              <a:ext uri="{FF2B5EF4-FFF2-40B4-BE49-F238E27FC236}">
                <a16:creationId xmlns:a16="http://schemas.microsoft.com/office/drawing/2014/main" id="{4AF4C816-CFE2-4DBE-A8BA-F048843E61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4152" y="2132856"/>
            <a:ext cx="3960440" cy="2641575"/>
          </a:xfrm>
          <a:prstGeom prst="rect">
            <a:avLst/>
          </a:prstGeom>
        </p:spPr>
      </p:pic>
      <p:pic>
        <p:nvPicPr>
          <p:cNvPr id="12" name="Immagine 11" descr="Immagine che contiene testo, palcoscenico, notte, soffitto&#10;&#10;Descrizione generata automaticamente">
            <a:extLst>
              <a:ext uri="{FF2B5EF4-FFF2-40B4-BE49-F238E27FC236}">
                <a16:creationId xmlns:a16="http://schemas.microsoft.com/office/drawing/2014/main" id="{4FC77282-833A-4C50-882F-7586C3AFA0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8979" y="2084430"/>
            <a:ext cx="3959149" cy="2640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857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BEST PHYGITAL BRAND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pic>
        <p:nvPicPr>
          <p:cNvPr id="3" name="Immagine 2" descr="Immagine che contiene notte&#10;&#10;Descrizione generata automaticamente">
            <a:extLst>
              <a:ext uri="{FF2B5EF4-FFF2-40B4-BE49-F238E27FC236}">
                <a16:creationId xmlns:a16="http://schemas.microsoft.com/office/drawing/2014/main" id="{2E4A1625-73B1-49C8-84B6-C8DDDC5D3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9513" y="2081111"/>
            <a:ext cx="4043668" cy="269577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graphicFrame>
        <p:nvGraphicFramePr>
          <p:cNvPr id="14" name="Tabella 13">
            <a:extLst>
              <a:ext uri="{FF2B5EF4-FFF2-40B4-BE49-F238E27FC236}">
                <a16:creationId xmlns:a16="http://schemas.microsoft.com/office/drawing/2014/main" id="{2F6A6592-922B-4976-AE75-960EE207F875}"/>
              </a:ext>
            </a:extLst>
          </p:cNvPr>
          <p:cNvGraphicFramePr>
            <a:graphicFrameLocks noGrp="1"/>
          </p:cNvGraphicFramePr>
          <p:nvPr/>
        </p:nvGraphicFramePr>
        <p:xfrm>
          <a:off x="623392" y="2077480"/>
          <a:ext cx="2190427" cy="2707412"/>
        </p:xfrm>
        <a:graphic>
          <a:graphicData uri="http://schemas.openxmlformats.org/drawingml/2006/table">
            <a:tbl>
              <a:tblPr/>
              <a:tblGrid>
                <a:gridCol w="2190427">
                  <a:extLst>
                    <a:ext uri="{9D8B030D-6E8A-4147-A177-3AD203B41FA5}">
                      <a16:colId xmlns:a16="http://schemas.microsoft.com/office/drawing/2014/main" val="3392790491"/>
                    </a:ext>
                  </a:extLst>
                </a:gridCol>
              </a:tblGrid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0" u="none" strike="noStrike" dirty="0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PayPal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57649941"/>
                  </a:ext>
                </a:extLst>
              </a:tr>
              <a:tr h="4809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Samsung (Grandi Elettrodomestici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18062636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0" u="none" strike="noStrike" dirty="0" err="1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UnipolSai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80603258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Amazon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92787124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Nike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89882629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err="1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Ovs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12228532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H&amp;M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69134008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Booking.com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44908862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Sony (Console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7383261"/>
                  </a:ext>
                </a:extLst>
              </a:tr>
              <a:tr h="24738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UNIEURO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66035533"/>
                  </a:ext>
                </a:extLst>
              </a:tr>
            </a:tbl>
          </a:graphicData>
        </a:graphic>
      </p:graphicFrame>
      <p:pic>
        <p:nvPicPr>
          <p:cNvPr id="9" name="Immagine 8" descr="Immagine che contiene testo, palcoscenico, soffitto, scena&#10;&#10;Descrizione generata automaticamente">
            <a:extLst>
              <a:ext uri="{FF2B5EF4-FFF2-40B4-BE49-F238E27FC236}">
                <a16:creationId xmlns:a16="http://schemas.microsoft.com/office/drawing/2014/main" id="{9C6B6508-F040-4F4E-9689-0C210A9BF1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5253" y="2088303"/>
            <a:ext cx="4062875" cy="2688587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pic>
        <p:nvPicPr>
          <p:cNvPr id="10" name="Immagine 9" descr="Immagine che contiene notte&#10;&#10;Descrizione generata automaticamente">
            <a:extLst>
              <a:ext uri="{FF2B5EF4-FFF2-40B4-BE49-F238E27FC236}">
                <a16:creationId xmlns:a16="http://schemas.microsoft.com/office/drawing/2014/main" id="{12AB9EFB-6DE2-4928-AAAE-32131AB41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7697" y="2077481"/>
            <a:ext cx="4043668" cy="2688587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</p:spTree>
    <p:extLst>
      <p:ext uri="{BB962C8B-B14F-4D97-AF65-F5344CB8AC3E}">
        <p14:creationId xmlns:p14="http://schemas.microsoft.com/office/powerpoint/2010/main" val="1823744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BEST SUSTAINABILITY BRAND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orgio Panariello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magine 2" descr="Immagine che contiene notte&#10;&#10;Descrizione generata automaticamente">
            <a:extLst>
              <a:ext uri="{FF2B5EF4-FFF2-40B4-BE49-F238E27FC236}">
                <a16:creationId xmlns:a16="http://schemas.microsoft.com/office/drawing/2014/main" id="{2E4A1625-73B1-49C8-84B6-C8DDDC5D3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5680" y="2081111"/>
            <a:ext cx="4043668" cy="269577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pic>
        <p:nvPicPr>
          <p:cNvPr id="10" name="Immagine 9" descr="Immagine che contiene testo, palcoscenico, notte, scuro&#10;&#10;Descrizione generata automaticamente">
            <a:extLst>
              <a:ext uri="{FF2B5EF4-FFF2-40B4-BE49-F238E27FC236}">
                <a16:creationId xmlns:a16="http://schemas.microsoft.com/office/drawing/2014/main" id="{EEBA7D7F-C229-495A-9F66-7F411A79A7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8056" y="2084853"/>
            <a:ext cx="3960072" cy="2640291"/>
          </a:xfrm>
          <a:prstGeom prst="rect">
            <a:avLst/>
          </a:prstGeom>
        </p:spPr>
      </p:pic>
      <p:pic>
        <p:nvPicPr>
          <p:cNvPr id="11" name="Immagine 10" descr="Immagine che contiene testo, esterni, notte, segnale&#10;&#10;Descrizione generata automaticamente">
            <a:extLst>
              <a:ext uri="{FF2B5EF4-FFF2-40B4-BE49-F238E27FC236}">
                <a16:creationId xmlns:a16="http://schemas.microsoft.com/office/drawing/2014/main" id="{F57BAB12-D9DC-4255-B849-EFD391090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03539" y="2081111"/>
            <a:ext cx="4014997" cy="2695779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  <p:graphicFrame>
        <p:nvGraphicFramePr>
          <p:cNvPr id="12" name="Tabella 11">
            <a:extLst>
              <a:ext uri="{FF2B5EF4-FFF2-40B4-BE49-F238E27FC236}">
                <a16:creationId xmlns:a16="http://schemas.microsoft.com/office/drawing/2014/main" id="{66A91DFD-8CBD-4AA6-BDBB-81D603D50062}"/>
              </a:ext>
            </a:extLst>
          </p:cNvPr>
          <p:cNvGraphicFramePr>
            <a:graphicFrameLocks noGrp="1"/>
          </p:cNvGraphicFramePr>
          <p:nvPr/>
        </p:nvGraphicFramePr>
        <p:xfrm>
          <a:off x="658443" y="2091092"/>
          <a:ext cx="2164948" cy="2708846"/>
        </p:xfrm>
        <a:graphic>
          <a:graphicData uri="http://schemas.openxmlformats.org/drawingml/2006/table">
            <a:tbl>
              <a:tblPr/>
              <a:tblGrid>
                <a:gridCol w="2164948">
                  <a:extLst>
                    <a:ext uri="{9D8B030D-6E8A-4147-A177-3AD203B41FA5}">
                      <a16:colId xmlns:a16="http://schemas.microsoft.com/office/drawing/2014/main" val="2823411905"/>
                    </a:ext>
                  </a:extLst>
                </a:gridCol>
              </a:tblGrid>
              <a:tr h="304244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u="none" strike="noStrike" dirty="0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Amazon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42605871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u="none" strike="noStrike" dirty="0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Mulino Bianco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8454839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u="none" strike="noStrike" dirty="0">
                          <a:solidFill>
                            <a:srgbClr val="FF0066"/>
                          </a:solidFill>
                          <a:effectLst/>
                          <a:latin typeface="+mn-lt"/>
                        </a:rPr>
                        <a:t>Intesa Sanpaolo</a:t>
                      </a:r>
                      <a:endParaRPr lang="it-IT" sz="1400" b="1" i="0" u="none" strike="noStrike" dirty="0">
                        <a:solidFill>
                          <a:srgbClr val="FF0066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60797242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Samsung (Cellulari)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39007935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BMW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73146336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Adidas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59127938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Alce Nero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09906131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Rio Mare</a:t>
                      </a:r>
                      <a:endParaRPr lang="it-IT" sz="1400" b="0" i="0" u="none" strike="noStrike" dirty="0">
                        <a:solidFill>
                          <a:srgbClr val="35434D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27027317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Coop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17646944"/>
                  </a:ext>
                </a:extLst>
              </a:tr>
              <a:tr h="26717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err="1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Enjoy</a:t>
                      </a:r>
                      <a:r>
                        <a:rPr lang="it-IT" sz="1400" b="0" i="0" u="none" strike="noStrike" dirty="0">
                          <a:solidFill>
                            <a:srgbClr val="35434D"/>
                          </a:solidFill>
                          <a:effectLst/>
                          <a:latin typeface="+mn-lt"/>
                        </a:rPr>
                        <a:t> (ENI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491012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65467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>
            <a:extLst>
              <a:ext uri="{FF2B5EF4-FFF2-40B4-BE49-F238E27FC236}">
                <a16:creationId xmlns:a16="http://schemas.microsoft.com/office/drawing/2014/main" id="{F8D96F03-AB01-4118-9537-0B7B76A7320E}"/>
              </a:ext>
            </a:extLst>
          </p:cNvPr>
          <p:cNvSpPr/>
          <p:nvPr/>
        </p:nvSpPr>
        <p:spPr>
          <a:xfrm>
            <a:off x="5128857" y="1582110"/>
            <a:ext cx="6511759" cy="4439177"/>
          </a:xfrm>
          <a:prstGeom prst="rect">
            <a:avLst/>
          </a:prstGeom>
          <a:solidFill>
            <a:schemeClr val="bg1"/>
          </a:solidFill>
          <a:ln>
            <a:solidFill>
              <a:srgbClr val="DB3D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" y="6197520"/>
            <a:ext cx="12191999" cy="741213"/>
          </a:xfrm>
          <a:prstGeom prst="rect">
            <a:avLst/>
          </a:prstGeom>
          <a:solidFill>
            <a:srgbClr val="354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830" y="6177869"/>
            <a:ext cx="917070" cy="67931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3" t="15370" r="39631" b="23703"/>
          <a:stretch/>
        </p:blipFill>
        <p:spPr>
          <a:xfrm>
            <a:off x="10475192" y="6273715"/>
            <a:ext cx="544298" cy="456055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73598401-472C-473F-9E19-7D00C10C5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69" y="256547"/>
            <a:ext cx="10515600" cy="1325563"/>
          </a:xfrm>
        </p:spPr>
        <p:txBody>
          <a:bodyPr>
            <a:normAutofit/>
          </a:bodyPr>
          <a:lstStyle/>
          <a:p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IL CLUB E IL LIBRO DEI </a:t>
            </a:r>
            <a:b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</a:br>
            <a:r>
              <a:rPr lang="it-IT" dirty="0">
                <a:solidFill>
                  <a:srgbClr val="35434D"/>
                </a:solidFill>
                <a:latin typeface="Arial Black" panose="020B0A04020102020204" pitchFamily="34" charset="0"/>
              </a:rPr>
              <a:t>BEST BRANDS</a:t>
            </a:r>
            <a:endParaRPr lang="en-US" dirty="0">
              <a:solidFill>
                <a:srgbClr val="35434D"/>
              </a:solidFill>
              <a:latin typeface="Arial Black" panose="020B0A04020102020204" pitchFamily="34" charset="0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CC8EFFC-624A-4DA7-B947-AA9993F176E2}"/>
              </a:ext>
            </a:extLst>
          </p:cNvPr>
          <p:cNvSpPr txBox="1"/>
          <p:nvPr/>
        </p:nvSpPr>
        <p:spPr>
          <a:xfrm>
            <a:off x="1720721" y="5334574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orgio Panariello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AD920584-CC88-4512-9BBB-9FB89FBB7FE2}"/>
              </a:ext>
            </a:extLst>
          </p:cNvPr>
          <p:cNvSpPr txBox="1"/>
          <p:nvPr/>
        </p:nvSpPr>
        <p:spPr>
          <a:xfrm>
            <a:off x="881895" y="1986044"/>
            <a:ext cx="4111554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5434D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MARCHE AL LAVOR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 PARTNER + UP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5434D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5 PROFESSIONIST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 MESI DI LAVOR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WORKSHO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O INTERVISTE INDIVIDUALI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dirty="0">
                <a:solidFill>
                  <a:srgbClr val="3543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SEDE: IL MUDEC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srgbClr val="35434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543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73EB78F9-37A0-41DC-ACA3-34591E069FD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0344" r="3125" b="12077"/>
          <a:stretch/>
        </p:blipFill>
        <p:spPr>
          <a:xfrm>
            <a:off x="5319389" y="3784807"/>
            <a:ext cx="5616623" cy="2236481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14485564-A59A-481F-90D4-418144EC0B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1904" y="1720097"/>
            <a:ext cx="1948802" cy="1942381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4DDC5964-A351-4F4B-AEF9-17A1731BB3E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2369"/>
          <a:stretch/>
        </p:blipFill>
        <p:spPr>
          <a:xfrm>
            <a:off x="7104112" y="1809013"/>
            <a:ext cx="1656184" cy="1931736"/>
          </a:xfrm>
          <a:prstGeom prst="rect">
            <a:avLst/>
          </a:prstGeom>
        </p:spPr>
      </p:pic>
      <p:pic>
        <p:nvPicPr>
          <p:cNvPr id="6" name="Immagine 5" descr="Immagine che contiene cielo, esterni&#10;&#10;Descrizione generata automaticamente">
            <a:extLst>
              <a:ext uri="{FF2B5EF4-FFF2-40B4-BE49-F238E27FC236}">
                <a16:creationId xmlns:a16="http://schemas.microsoft.com/office/drawing/2014/main" id="{4C278B8A-6424-CCCB-9611-FB4B4FC26F5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286" r="9022"/>
          <a:stretch/>
        </p:blipFill>
        <p:spPr>
          <a:xfrm>
            <a:off x="8638391" y="1441849"/>
            <a:ext cx="3387073" cy="2117953"/>
          </a:xfrm>
          <a:prstGeom prst="rect">
            <a:avLst/>
          </a:prstGeom>
          <a:ln w="28575">
            <a:solidFill>
              <a:srgbClr val="DB3DAA"/>
            </a:solidFill>
          </a:ln>
        </p:spPr>
      </p:pic>
    </p:spTree>
    <p:extLst>
      <p:ext uri="{BB962C8B-B14F-4D97-AF65-F5344CB8AC3E}">
        <p14:creationId xmlns:p14="http://schemas.microsoft.com/office/powerpoint/2010/main" val="2626420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highlight red">
      <a:dk1>
        <a:srgbClr val="464646"/>
      </a:dk1>
      <a:lt1>
        <a:srgbClr val="FFFFFF"/>
      </a:lt1>
      <a:dk2>
        <a:srgbClr val="464646"/>
      </a:dk2>
      <a:lt2>
        <a:srgbClr val="828282"/>
      </a:lt2>
      <a:accent1>
        <a:srgbClr val="D70F14"/>
      </a:accent1>
      <a:accent2>
        <a:srgbClr val="0A7DB4"/>
      </a:accent2>
      <a:accent3>
        <a:srgbClr val="414B55"/>
      </a:accent3>
      <a:accent4>
        <a:srgbClr val="64A505"/>
      </a:accent4>
      <a:accent5>
        <a:srgbClr val="E67300"/>
      </a:accent5>
      <a:accent6>
        <a:srgbClr val="C30050"/>
      </a:accent6>
      <a:hlink>
        <a:srgbClr val="D70F14"/>
      </a:hlink>
      <a:folHlink>
        <a:srgbClr val="A10B0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2563" indent="-182563" algn="l">
          <a:spcAft>
            <a:spcPts val="1000"/>
          </a:spcAft>
          <a:buFont typeface="Arial" panose="020B0604020202020204" pitchFamily="34" charset="0"/>
          <a:buChar char="»"/>
          <a:defRPr sz="1600" dirty="0" smtClean="0">
            <a:solidFill>
              <a:schemeClr val="bg1"/>
            </a:solidFill>
          </a:defRPr>
        </a:defPPr>
      </a:lstStyle>
    </a:spDef>
    <a:lnDef>
      <a:spPr>
        <a:ln w="12700" cap="rnd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82563" indent="-182563">
          <a:lnSpc>
            <a:spcPct val="120000"/>
          </a:lnSpc>
          <a:spcAft>
            <a:spcPts val="600"/>
          </a:spcAft>
          <a:buFont typeface="Arial" panose="020B0604020202020204" pitchFamily="34" charset="0"/>
          <a:buChar char="»"/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4_3.potx" id="{F525242C-A01D-42FC-BB14-CD0CF9286DEC}" vid="{6C19CD2D-8149-4A53-8BD6-24C7488D5E18}"/>
    </a:ext>
  </a:extLst>
</a:theme>
</file>

<file path=ppt/theme/theme3.xml><?xml version="1.0" encoding="utf-8"?>
<a:theme xmlns:a="http://schemas.openxmlformats.org/drawingml/2006/main" name="66pt regular Arial Black Versal">
  <a:themeElements>
    <a:clrScheme name="Highlight red">
      <a:dk1>
        <a:srgbClr val="000000"/>
      </a:dk1>
      <a:lt1>
        <a:srgbClr val="FFFFFF"/>
      </a:lt1>
      <a:dk2>
        <a:srgbClr val="000000"/>
      </a:dk2>
      <a:lt2>
        <a:srgbClr val="828282"/>
      </a:lt2>
      <a:accent1>
        <a:srgbClr val="D70F14"/>
      </a:accent1>
      <a:accent2>
        <a:srgbClr val="0073BE"/>
      </a:accent2>
      <a:accent3>
        <a:srgbClr val="414B55"/>
      </a:accent3>
      <a:accent4>
        <a:srgbClr val="64A505"/>
      </a:accent4>
      <a:accent5>
        <a:srgbClr val="FF8200"/>
      </a:accent5>
      <a:accent6>
        <a:srgbClr val="C30050"/>
      </a:accent6>
      <a:hlink>
        <a:srgbClr val="D70F14"/>
      </a:hlink>
      <a:folHlink>
        <a:srgbClr val="A10B0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2563" indent="-182563" algn="l">
          <a:spcAft>
            <a:spcPts val="1000"/>
          </a:spcAft>
          <a:buFont typeface="Arial" panose="020B0604020202020204" pitchFamily="34" charset="0"/>
          <a:buChar char="»"/>
          <a:defRPr sz="1600" dirty="0" err="1" smtClean="0">
            <a:solidFill>
              <a:schemeClr val="bg1"/>
            </a:solidFill>
          </a:defRPr>
        </a:defPPr>
      </a:lstStyle>
    </a:spDef>
    <a:lnDef>
      <a:spPr>
        <a:ln w="12700" cap="rnd">
          <a:solidFill>
            <a:schemeClr val="tx1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176213" indent="-176213" defTabSz="1279859">
          <a:lnSpc>
            <a:spcPct val="120000"/>
          </a:lnSpc>
          <a:buFont typeface="Arial" panose="020B0604020202020204" pitchFamily="34" charset="0"/>
          <a:buChar char="»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ie Studie zum Interessanten Thema" id="{89337C89-6CDD-4666-8DC4-427B23C6DB0E}" vid="{E4080D21-E775-4F6D-A783-D424074590D2}"/>
    </a:ext>
  </a:extLst>
</a:theme>
</file>

<file path=ppt/theme/theme4.xml><?xml version="1.0" encoding="utf-8"?>
<a:theme xmlns:a="http://schemas.openxmlformats.org/drawingml/2006/main" name="GfK">
  <a:themeElements>
    <a:clrScheme name="GfK">
      <a:dk1>
        <a:srgbClr val="3B4145"/>
      </a:dk1>
      <a:lt1>
        <a:srgbClr val="FFFFFF"/>
      </a:lt1>
      <a:dk2>
        <a:srgbClr val="EA5B0C"/>
      </a:dk2>
      <a:lt2>
        <a:srgbClr val="D6D9DC"/>
      </a:lt2>
      <a:accent1>
        <a:srgbClr val="6A757C"/>
      </a:accent1>
      <a:accent2>
        <a:srgbClr val="4368BD"/>
      </a:accent2>
      <a:accent3>
        <a:srgbClr val="54B9B1"/>
      </a:accent3>
      <a:accent4>
        <a:srgbClr val="FFA52F"/>
      </a:accent4>
      <a:accent5>
        <a:srgbClr val="D2335F"/>
      </a:accent5>
      <a:accent6>
        <a:srgbClr val="7B4DB3"/>
      </a:accent6>
      <a:hlink>
        <a:srgbClr val="EA5B0C"/>
      </a:hlink>
      <a:folHlink>
        <a:srgbClr val="6A757C"/>
      </a:folHlink>
    </a:clrScheme>
    <a:fontScheme name="GfK">
      <a:majorFont>
        <a:latin typeface="Lato Heav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66700" indent="-266700" algn="l">
          <a:buSzPct val="8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/>
  <a:custClrLst>
    <a:custClr name="GfK Gray 700">
      <a:srgbClr val="3B4145"/>
    </a:custClr>
    <a:custClr name="GfK Blue 700">
      <a:srgbClr val="3456A6"/>
    </a:custClr>
    <a:custClr name="GfK Turquoise 700">
      <a:srgbClr val="4B9A91"/>
    </a:custClr>
    <a:custClr name="GfK Yellow 700">
      <a:srgbClr val="F58A27"/>
    </a:custClr>
    <a:custClr name="GfK Magenta 700">
      <a:srgbClr val="AC2B55"/>
    </a:custClr>
    <a:custClr name="GfK Purple 700">
      <a:srgbClr val="673FA2"/>
    </a:custClr>
    <a:custClr name="GfK Sand 700">
      <a:srgbClr val="C56227"/>
    </a:custClr>
    <a:custClr name="GfK Petrol 700">
      <a:srgbClr val="327890"/>
    </a:custClr>
    <a:custClr name="GfK Red 700">
      <a:srgbClr val="9B0009"/>
    </a:custClr>
    <a:custClr name="GfK Green 700">
      <a:srgbClr val="24892C"/>
    </a:custClr>
    <a:custClr name="GfK Gray 500">
      <a:srgbClr val="6A757C"/>
    </a:custClr>
    <a:custClr name="GfK Blue 500">
      <a:srgbClr val="4368BD"/>
    </a:custClr>
    <a:custClr name="GfK Turquoise 500">
      <a:srgbClr val="54B9B1"/>
    </a:custClr>
    <a:custClr name="GfK Yellow 500">
      <a:srgbClr val="FFA52F"/>
    </a:custClr>
    <a:custClr name="GfK Magenta 500">
      <a:srgbClr val="D2335F"/>
    </a:custClr>
    <a:custClr name="GfK Purple 500">
      <a:srgbClr val="7B4DB3"/>
    </a:custClr>
    <a:custClr name="GfK Sand 500">
      <a:srgbClr val="D27A2E"/>
    </a:custClr>
    <a:custClr name="GfK Petrol 500">
      <a:srgbClr val="519FBC"/>
    </a:custClr>
    <a:custClr name="GfK Red 500">
      <a:srgbClr val="BC1C0E"/>
    </a:custClr>
    <a:custClr name="GfK Green 500">
      <a:srgbClr val="3DAD42"/>
    </a:custClr>
    <a:custClr name="GfK Gray 300">
      <a:srgbClr val="9FA7AD"/>
    </a:custClr>
    <a:custClr name="GfK Blue 300">
      <a:srgbClr val="879BCC"/>
    </a:custClr>
    <a:custClr name="GfK Turquoise 300">
      <a:srgbClr val="81D7D3"/>
    </a:custClr>
    <a:custClr name="GfK Yellow 300">
      <a:srgbClr val="FDC166"/>
    </a:custClr>
    <a:custClr name="GfK Magenta 300">
      <a:srgbClr val="D76789"/>
    </a:custClr>
    <a:custClr name="GfK Purple 300">
      <a:srgbClr val="A387CB"/>
    </a:custClr>
    <a:custClr name="GfK Sand 300">
      <a:srgbClr val="D0965C"/>
    </a:custClr>
    <a:custClr name="GfK Petrol 300">
      <a:srgbClr val="87C5DE"/>
    </a:custClr>
    <a:custClr name="GfK Red 300">
      <a:srgbClr val="B0504C"/>
    </a:custClr>
    <a:custClr name="GfK Green 300">
      <a:srgbClr val="73C375"/>
    </a:custClr>
    <a:custClr name="GfK Gray 100">
      <a:srgbClr val="D6D9DC"/>
    </a:custClr>
    <a:custClr name="GfK Blue 100">
      <a:srgbClr val="DBE0EB"/>
    </a:custClr>
    <a:custClr name="GfK Turquoise 100">
      <a:srgbClr val="E2FFFF"/>
    </a:custClr>
    <a:custClr name="GfK Yellow 100">
      <a:srgbClr val="FFEBCC"/>
    </a:custClr>
    <a:custClr name="GfK Magenta 100">
      <a:srgbClr val="DDBBC5"/>
    </a:custClr>
    <a:custClr name="GfK Purple 100">
      <a:srgbClr val="DDD8E4"/>
    </a:custClr>
    <a:custClr name="GfK Sand 100">
      <a:srgbClr val="C9C1BA"/>
    </a:custClr>
    <a:custClr name="GfK Petrol 100">
      <a:srgbClr val="CBFCFF"/>
    </a:custClr>
    <a:custClr name="GfK Red 100">
      <a:srgbClr val="CBA6AB"/>
    </a:custClr>
    <a:custClr name="GfK Green 100">
      <a:srgbClr val="BDE5BD"/>
    </a:custClr>
  </a:custClrLst>
  <a:extLst>
    <a:ext uri="{05A4C25C-085E-4340-85A3-A5531E510DB2}">
      <thm15:themeFamily xmlns:thm15="http://schemas.microsoft.com/office/thememl/2012/main" name="GfK Master_Lato_(August 2022).potx" id="{5D2636B9-689F-4A09-83A5-7D4C49FE5508}" vid="{1843979C-433B-40F6-9D0B-1579D72E6A4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B92E12919BAC4FA7B7F45578FD60D7" ma:contentTypeVersion="11" ma:contentTypeDescription="Create a new document." ma:contentTypeScope="" ma:versionID="e0ced0ac64f9a68ede5def8f88a24f9e">
  <xsd:schema xmlns:xsd="http://www.w3.org/2001/XMLSchema" xmlns:xs="http://www.w3.org/2001/XMLSchema" xmlns:p="http://schemas.microsoft.com/office/2006/metadata/properties" xmlns:ns3="03d6c446-c604-465e-ae78-d8252315284c" targetNamespace="http://schemas.microsoft.com/office/2006/metadata/properties" ma:root="true" ma:fieldsID="b2a65402dffb0d74f7ad489e447f7f33" ns3:_="">
    <xsd:import namespace="03d6c446-c604-465e-ae78-d8252315284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d6c446-c604-465e-ae78-d825231528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9539C7-792E-42B1-BB81-141902469889}">
  <ds:schemaRefs>
    <ds:schemaRef ds:uri="http://schemas.microsoft.com/office/infopath/2007/PartnerControls"/>
    <ds:schemaRef ds:uri="http://www.w3.org/XML/1998/namespace"/>
    <ds:schemaRef ds:uri="http://purl.org/dc/elements/1.1/"/>
    <ds:schemaRef ds:uri="http://purl.org/dc/dcmitype/"/>
    <ds:schemaRef ds:uri="03d6c446-c604-465e-ae78-d8252315284c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7777F1B-BB85-4794-9CD1-8FD986F7738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383473-2326-400A-B422-141A80E398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d6c446-c604-465e-ae78-d825231528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6</Words>
  <Application>Microsoft Office PowerPoint</Application>
  <PresentationFormat>Widescreen</PresentationFormat>
  <Paragraphs>216</Paragraphs>
  <Slides>26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6</vt:i4>
      </vt:variant>
    </vt:vector>
  </HeadingPairs>
  <TitlesOfParts>
    <vt:vector size="42" baseType="lpstr">
      <vt:lpstr>Lato Heavy</vt:lpstr>
      <vt:lpstr>Arial</vt:lpstr>
      <vt:lpstr>Arial Black</vt:lpstr>
      <vt:lpstr>Calibri</vt:lpstr>
      <vt:lpstr>Calibri Light</vt:lpstr>
      <vt:lpstr>Courier New</vt:lpstr>
      <vt:lpstr>Fira Sans Extra Condensed</vt:lpstr>
      <vt:lpstr>Lato</vt:lpstr>
      <vt:lpstr>Lato Light</vt:lpstr>
      <vt:lpstr>Wingdings</vt:lpstr>
      <vt:lpstr>Wingdings 2</vt:lpstr>
      <vt:lpstr>Office Theme</vt:lpstr>
      <vt:lpstr>blank</vt:lpstr>
      <vt:lpstr>66pt regular Arial Black Versal</vt:lpstr>
      <vt:lpstr>GfK</vt:lpstr>
      <vt:lpstr>think-cell Folie</vt:lpstr>
      <vt:lpstr>Presentazione standard di PowerPoint</vt:lpstr>
      <vt:lpstr>UN NON-PREMIO</vt:lpstr>
      <vt:lpstr>LA STORIA E I FONDATORI</vt:lpstr>
      <vt:lpstr>L’ULTIMA EDIZIONE</vt:lpstr>
      <vt:lpstr>BEST PRODUCT BRAND </vt:lpstr>
      <vt:lpstr>BEST GROWTH BRAND</vt:lpstr>
      <vt:lpstr>BEST PHYGITAL BRAND</vt:lpstr>
      <vt:lpstr>BEST SUSTAINABILITY BRAND</vt:lpstr>
      <vt:lpstr>IL CLUB E IL LIBRO DEI  BEST BRANDS</vt:lpstr>
      <vt:lpstr>I 10 BEST BRANDS DEL CLUB</vt:lpstr>
      <vt:lpstr>LE PRIME EVIDENZE</vt:lpstr>
      <vt:lpstr>ESSERE UN BEST BRAND OGGI</vt:lpstr>
      <vt:lpstr>Presentazione standard di PowerPoint</vt:lpstr>
      <vt:lpstr>IL CONCEPT 2023</vt:lpstr>
      <vt:lpstr>GRAZIE A CHI CI SUPPORTA</vt:lpstr>
      <vt:lpstr>LA RICERCA E LA METODOLOGIA</vt:lpstr>
      <vt:lpstr>Presentazione standard di PowerPoint</vt:lpstr>
      <vt:lpstr>Edizione 2023 – l’evoluzione grazie ai feedback del Club</vt:lpstr>
      <vt:lpstr>The Best of the Best</vt:lpstr>
      <vt:lpstr>Edizione 2023 – 6.000 interviste per 16.000 valutazioni</vt:lpstr>
      <vt:lpstr>Best Product Brand: il modello</vt:lpstr>
      <vt:lpstr>Best Growth Brand: il modello</vt:lpstr>
      <vt:lpstr>Best Sustainability Brand: il modello</vt:lpstr>
      <vt:lpstr>Best Phygital Brand: il modello</vt:lpstr>
      <vt:lpstr>Edizione 2023</vt:lpstr>
      <vt:lpstr>BEST THAN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 BRANDS NEL MONDO</dc:title>
  <dc:creator>Microsoft Office User</dc:creator>
  <cp:lastModifiedBy>Ghelardi, Giovanni</cp:lastModifiedBy>
  <cp:revision>315</cp:revision>
  <cp:lastPrinted>2018-09-27T07:51:44Z</cp:lastPrinted>
  <dcterms:created xsi:type="dcterms:W3CDTF">2017-08-29T09:08:13Z</dcterms:created>
  <dcterms:modified xsi:type="dcterms:W3CDTF">2023-01-09T17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B92E12919BAC4FA7B7F45578FD60D7</vt:lpwstr>
  </property>
  <property fmtid="{D5CDD505-2E9C-101B-9397-08002B2CF9AE}" pid="3" name="MSIP_Label_0d2d24dc-7784-42ad-a576-f536bda6a418_Enabled">
    <vt:lpwstr>true</vt:lpwstr>
  </property>
  <property fmtid="{D5CDD505-2E9C-101B-9397-08002B2CF9AE}" pid="4" name="MSIP_Label_0d2d24dc-7784-42ad-a576-f536bda6a418_SetDate">
    <vt:lpwstr>2023-01-03T14:32:00Z</vt:lpwstr>
  </property>
  <property fmtid="{D5CDD505-2E9C-101B-9397-08002B2CF9AE}" pid="5" name="MSIP_Label_0d2d24dc-7784-42ad-a576-f536bda6a418_Method">
    <vt:lpwstr>Standard</vt:lpwstr>
  </property>
  <property fmtid="{D5CDD505-2E9C-101B-9397-08002B2CF9AE}" pid="6" name="MSIP_Label_0d2d24dc-7784-42ad-a576-f536bda6a418_Name">
    <vt:lpwstr>General</vt:lpwstr>
  </property>
  <property fmtid="{D5CDD505-2E9C-101B-9397-08002B2CF9AE}" pid="7" name="MSIP_Label_0d2d24dc-7784-42ad-a576-f536bda6a418_SiteId">
    <vt:lpwstr>816ef078-e1e2-4e49-b265-68b9d2a9ae92</vt:lpwstr>
  </property>
  <property fmtid="{D5CDD505-2E9C-101B-9397-08002B2CF9AE}" pid="8" name="MSIP_Label_0d2d24dc-7784-42ad-a576-f536bda6a418_ActionId">
    <vt:lpwstr>9b399b89-8af9-4c63-83b7-db81eef3846d</vt:lpwstr>
  </property>
  <property fmtid="{D5CDD505-2E9C-101B-9397-08002B2CF9AE}" pid="9" name="MSIP_Label_0d2d24dc-7784-42ad-a576-f536bda6a418_ContentBits">
    <vt:lpwstr>0</vt:lpwstr>
  </property>
</Properties>
</file>